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tags/tag1.xml" ContentType="application/vnd.openxmlformats-officedocument.presentationml.tags+xml"/>
  <Override PartName="/ppt/notesSlides/notesSlide6.xml" ContentType="application/vnd.openxmlformats-officedocument.presentationml.notesSlide+xml"/>
  <Override PartName="/ppt/tags/tag2.xml" ContentType="application/vnd.openxmlformats-officedocument.presentationml.tags+xml"/>
  <Override PartName="/ppt/notesSlides/notesSlide7.xml" ContentType="application/vnd.openxmlformats-officedocument.presentationml.notesSlide+xml"/>
  <Override PartName="/ppt/tags/tag3.xml" ContentType="application/vnd.openxmlformats-officedocument.presentationml.tags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tags/tag4.xml" ContentType="application/vnd.openxmlformats-officedocument.presentationml.tags+xml"/>
  <Override PartName="/ppt/notesSlides/notesSlide11.xml" ContentType="application/vnd.openxmlformats-officedocument.presentationml.notesSlide+xml"/>
  <Override PartName="/ppt/tags/tag5.xml" ContentType="application/vnd.openxmlformats-officedocument.presentationml.tags+xml"/>
  <Override PartName="/ppt/notesSlides/notesSlide12.xml" ContentType="application/vnd.openxmlformats-officedocument.presentationml.notesSlide+xml"/>
  <Override PartName="/ppt/tags/tag6.xml" ContentType="application/vnd.openxmlformats-officedocument.presentationml.tags+xml"/>
  <Override PartName="/ppt/notesSlides/notesSlide13.xml" ContentType="application/vnd.openxmlformats-officedocument.presentationml.notesSlide+xml"/>
  <Override PartName="/ppt/tags/tag7.xml" ContentType="application/vnd.openxmlformats-officedocument.presentationml.tags+xml"/>
  <Override PartName="/ppt/notesSlides/notesSlide14.xml" ContentType="application/vnd.openxmlformats-officedocument.presentationml.notesSlide+xml"/>
  <Override PartName="/ppt/tags/tag8.xml" ContentType="application/vnd.openxmlformats-officedocument.presentationml.tags+xml"/>
  <Override PartName="/ppt/ink/ink1.xml" ContentType="application/inkml+xml"/>
  <Override PartName="/ppt/tags/tag9.xml" ContentType="application/vnd.openxmlformats-officedocument.presentationml.tags+xml"/>
  <Override PartName="/ppt/ink/ink2.xml" ContentType="application/inkml+xml"/>
  <Override PartName="/ppt/tags/tag10.xml" ContentType="application/vnd.openxmlformats-officedocument.presentationml.tags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notesMasterIdLst>
    <p:notesMasterId r:id="rId25"/>
  </p:notesMasterIdLst>
  <p:sldIdLst>
    <p:sldId id="662" r:id="rId5"/>
    <p:sldId id="709" r:id="rId6"/>
    <p:sldId id="559" r:id="rId7"/>
    <p:sldId id="714" r:id="rId8"/>
    <p:sldId id="1098" r:id="rId9"/>
    <p:sldId id="636" r:id="rId10"/>
    <p:sldId id="648" r:id="rId11"/>
    <p:sldId id="649" r:id="rId12"/>
    <p:sldId id="631" r:id="rId13"/>
    <p:sldId id="1099" r:id="rId14"/>
    <p:sldId id="654" r:id="rId15"/>
    <p:sldId id="650" r:id="rId16"/>
    <p:sldId id="655" r:id="rId17"/>
    <p:sldId id="651" r:id="rId18"/>
    <p:sldId id="656" r:id="rId19"/>
    <p:sldId id="653" r:id="rId20"/>
    <p:sldId id="637" r:id="rId21"/>
    <p:sldId id="660" r:id="rId22"/>
    <p:sldId id="661" r:id="rId23"/>
    <p:sldId id="300" r:id="rId24"/>
  </p:sldIdLst>
  <p:sldSz cx="12192000" cy="6858000"/>
  <p:notesSz cx="6858000" cy="9144000"/>
  <p:defaultTextStyle>
    <a:defPPr>
      <a:defRPr lang="nl-NL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783E7423-D6F9-D281-3A2A-61AFB113F9F9}" name="Michel Kuijer" initials="MK" userId="S::michel.kuijer@copernicos.com::fd540037-e7ef-48d3-b097-399e36e35848" providerId="AD"/>
  <p188:author id="{BE495A3F-A5A2-E127-1FDC-9D1F88E75790}" name="Stefan Salome" initials="SS" userId="S::stefan.salome@copernicos.com::c8dc8e1a-06b7-4e71-a916-5fc9de161173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9D241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C2192E32-0381-4FF3-BA12-78A7CFD0B5F7}" v="163" dt="2023-07-06T11:04:20.077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C4B1156A-380E-4F78-BDF5-A606A8083BF9}" styleName="Medium Style 4 - Acc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4"/>
              </a:solidFill>
            </a:ln>
          </a:top>
        </a:tcBdr>
        <a:fill>
          <a:solidFill>
            <a:schemeClr val="accent4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4">
              <a:tint val="20000"/>
            </a:scheme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3497" autoAdjust="0"/>
  </p:normalViewPr>
  <p:slideViewPr>
    <p:cSldViewPr snapToGrid="0">
      <p:cViewPr varScale="1">
        <p:scale>
          <a:sx n="95" d="100"/>
          <a:sy n="95" d="100"/>
        </p:scale>
        <p:origin x="76" y="32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notesMaster" Target="notesMasters/notes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microsoft.com/office/2018/10/relationships/authors" Target="author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theme" Target="theme/theme1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microsoft.com/office/2015/10/relationships/revisionInfo" Target="revisionInfo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viewProps" Target="viewProps.xml"/><Relationship Id="rId30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Michel Kuijer" userId="fd540037-e7ef-48d3-b097-399e36e35848" providerId="ADAL" clId="{932BA450-7380-4A07-8BA8-135167136348}"/>
    <pc:docChg chg="custSel addSld modSld">
      <pc:chgData name="Michel Kuijer" userId="fd540037-e7ef-48d3-b097-399e36e35848" providerId="ADAL" clId="{932BA450-7380-4A07-8BA8-135167136348}" dt="2023-07-01T13:46:54.216" v="987" actId="108"/>
      <pc:docMkLst>
        <pc:docMk/>
      </pc:docMkLst>
      <pc:sldChg chg="modSp mod">
        <pc:chgData name="Michel Kuijer" userId="fd540037-e7ef-48d3-b097-399e36e35848" providerId="ADAL" clId="{932BA450-7380-4A07-8BA8-135167136348}" dt="2023-07-01T13:23:37.650" v="40" actId="2711"/>
        <pc:sldMkLst>
          <pc:docMk/>
          <pc:sldMk cId="4122790178" sldId="300"/>
        </pc:sldMkLst>
        <pc:spChg chg="mod">
          <ac:chgData name="Michel Kuijer" userId="fd540037-e7ef-48d3-b097-399e36e35848" providerId="ADAL" clId="{932BA450-7380-4A07-8BA8-135167136348}" dt="2023-07-01T13:23:37.650" v="40" actId="2711"/>
          <ac:spMkLst>
            <pc:docMk/>
            <pc:sldMk cId="4122790178" sldId="300"/>
            <ac:spMk id="2" creationId="{12DE98D4-FD01-42D1-9B6E-0508C1857977}"/>
          </ac:spMkLst>
        </pc:spChg>
      </pc:sldChg>
      <pc:sldChg chg="modSp mod">
        <pc:chgData name="Michel Kuijer" userId="fd540037-e7ef-48d3-b097-399e36e35848" providerId="ADAL" clId="{932BA450-7380-4A07-8BA8-135167136348}" dt="2023-07-01T13:46:17.448" v="986" actId="20577"/>
        <pc:sldMkLst>
          <pc:docMk/>
          <pc:sldMk cId="1856765429" sldId="558"/>
        </pc:sldMkLst>
        <pc:spChg chg="mod">
          <ac:chgData name="Michel Kuijer" userId="fd540037-e7ef-48d3-b097-399e36e35848" providerId="ADAL" clId="{932BA450-7380-4A07-8BA8-135167136348}" dt="2023-07-01T13:46:17.448" v="986" actId="20577"/>
          <ac:spMkLst>
            <pc:docMk/>
            <pc:sldMk cId="1856765429" sldId="558"/>
            <ac:spMk id="2" creationId="{25729BF9-A349-42D0-96AF-FEBDD623B6C9}"/>
          </ac:spMkLst>
        </pc:spChg>
        <pc:spChg chg="mod">
          <ac:chgData name="Michel Kuijer" userId="fd540037-e7ef-48d3-b097-399e36e35848" providerId="ADAL" clId="{932BA450-7380-4A07-8BA8-135167136348}" dt="2023-07-01T13:39:06.589" v="312" actId="20577"/>
          <ac:spMkLst>
            <pc:docMk/>
            <pc:sldMk cId="1856765429" sldId="558"/>
            <ac:spMk id="4" creationId="{CAAEDC5B-A901-4F88-A3B7-6490698C320F}"/>
          </ac:spMkLst>
        </pc:spChg>
      </pc:sldChg>
      <pc:sldChg chg="add">
        <pc:chgData name="Michel Kuijer" userId="fd540037-e7ef-48d3-b097-399e36e35848" providerId="ADAL" clId="{932BA450-7380-4A07-8BA8-135167136348}" dt="2023-07-01T13:18:19.420" v="0"/>
        <pc:sldMkLst>
          <pc:docMk/>
          <pc:sldMk cId="363860091" sldId="559"/>
        </pc:sldMkLst>
      </pc:sldChg>
      <pc:sldChg chg="modSp mod addCm modCm">
        <pc:chgData name="Michel Kuijer" userId="fd540037-e7ef-48d3-b097-399e36e35848" providerId="ADAL" clId="{932BA450-7380-4A07-8BA8-135167136348}" dt="2023-07-01T13:21:19.943" v="7"/>
        <pc:sldMkLst>
          <pc:docMk/>
          <pc:sldMk cId="2160969410" sldId="662"/>
        </pc:sldMkLst>
        <pc:spChg chg="mod">
          <ac:chgData name="Michel Kuijer" userId="fd540037-e7ef-48d3-b097-399e36e35848" providerId="ADAL" clId="{932BA450-7380-4A07-8BA8-135167136348}" dt="2023-07-01T13:19:55.111" v="5" actId="2711"/>
          <ac:spMkLst>
            <pc:docMk/>
            <pc:sldMk cId="2160969410" sldId="662"/>
            <ac:spMk id="4" creationId="{56276F1A-519F-49B0-A512-A358A1F74DB3}"/>
          </ac:spMkLst>
        </pc:spChg>
        <pc:extLst>
          <p:ext xmlns:p="http://schemas.openxmlformats.org/presentationml/2006/main" uri="{D6D511B9-2390-475A-947B-AFAB55BFBCF1}">
            <pc226:cmChg xmlns:pc226="http://schemas.microsoft.com/office/powerpoint/2022/06/main/command" chg="add">
              <pc226:chgData name="Michel Kuijer" userId="fd540037-e7ef-48d3-b097-399e36e35848" providerId="ADAL" clId="{932BA450-7380-4A07-8BA8-135167136348}" dt="2023-07-01T13:21:19.943" v="7"/>
              <pc2:cmMkLst xmlns:pc2="http://schemas.microsoft.com/office/powerpoint/2019/9/main/command">
                <pc:docMk/>
                <pc:sldMk cId="2160969410" sldId="662"/>
                <pc2:cmMk id="{54FC02B4-64BD-46A5-B02F-B86861CE8E30}"/>
              </pc2:cmMkLst>
              <pc226:cmRplyChg chg="add">
                <pc226:chgData name="Michel Kuijer" userId="fd540037-e7ef-48d3-b097-399e36e35848" providerId="ADAL" clId="{932BA450-7380-4A07-8BA8-135167136348}" dt="2023-07-01T13:21:19.943" v="7"/>
                <pc2:cmRplyMkLst xmlns:pc2="http://schemas.microsoft.com/office/powerpoint/2019/9/main/command">
                  <pc:docMk/>
                  <pc:sldMk cId="2160969410" sldId="662"/>
                  <pc2:cmMk id="{54FC02B4-64BD-46A5-B02F-B86861CE8E30}"/>
                  <pc2:cmRplyMk id="{19C768F9-BE3C-4AA6-AA9B-74AD9E59AE66}"/>
                </pc2:cmRplyMkLst>
              </pc226:cmRplyChg>
            </pc226:cmChg>
          </p:ext>
        </pc:extLst>
      </pc:sldChg>
      <pc:sldChg chg="add">
        <pc:chgData name="Michel Kuijer" userId="fd540037-e7ef-48d3-b097-399e36e35848" providerId="ADAL" clId="{932BA450-7380-4A07-8BA8-135167136348}" dt="2023-07-01T13:18:19.420" v="0"/>
        <pc:sldMkLst>
          <pc:docMk/>
          <pc:sldMk cId="766697898" sldId="709"/>
        </pc:sldMkLst>
      </pc:sldChg>
      <pc:sldChg chg="modSp mod">
        <pc:chgData name="Michel Kuijer" userId="fd540037-e7ef-48d3-b097-399e36e35848" providerId="ADAL" clId="{932BA450-7380-4A07-8BA8-135167136348}" dt="2023-07-01T13:28:06.278" v="46" actId="207"/>
        <pc:sldMkLst>
          <pc:docMk/>
          <pc:sldMk cId="2923476912" sldId="714"/>
        </pc:sldMkLst>
        <pc:spChg chg="mod">
          <ac:chgData name="Michel Kuijer" userId="fd540037-e7ef-48d3-b097-399e36e35848" providerId="ADAL" clId="{932BA450-7380-4A07-8BA8-135167136348}" dt="2023-07-01T13:28:06.278" v="46" actId="207"/>
          <ac:spMkLst>
            <pc:docMk/>
            <pc:sldMk cId="2923476912" sldId="714"/>
            <ac:spMk id="15" creationId="{E5E91CD9-2928-D1FB-F63A-AFEEECA8B032}"/>
          </ac:spMkLst>
        </pc:spChg>
        <pc:spChg chg="mod">
          <ac:chgData name="Michel Kuijer" userId="fd540037-e7ef-48d3-b097-399e36e35848" providerId="ADAL" clId="{932BA450-7380-4A07-8BA8-135167136348}" dt="2023-07-01T13:28:01.877" v="44" actId="207"/>
          <ac:spMkLst>
            <pc:docMk/>
            <pc:sldMk cId="2923476912" sldId="714"/>
            <ac:spMk id="16" creationId="{1BDFA149-32A8-E71F-60D0-253279FCC9EB}"/>
          </ac:spMkLst>
        </pc:spChg>
        <pc:spChg chg="mod">
          <ac:chgData name="Michel Kuijer" userId="fd540037-e7ef-48d3-b097-399e36e35848" providerId="ADAL" clId="{932BA450-7380-4A07-8BA8-135167136348}" dt="2023-07-01T13:27:55.933" v="42" actId="208"/>
          <ac:spMkLst>
            <pc:docMk/>
            <pc:sldMk cId="2923476912" sldId="714"/>
            <ac:spMk id="17" creationId="{263E7081-3E02-EDA2-1F44-ED4626A80C53}"/>
          </ac:spMkLst>
        </pc:spChg>
      </pc:sldChg>
      <pc:sldChg chg="add">
        <pc:chgData name="Michel Kuijer" userId="fd540037-e7ef-48d3-b097-399e36e35848" providerId="ADAL" clId="{932BA450-7380-4A07-8BA8-135167136348}" dt="2023-07-01T13:18:19.420" v="0"/>
        <pc:sldMkLst>
          <pc:docMk/>
          <pc:sldMk cId="2293460220" sldId="1096"/>
        </pc:sldMkLst>
      </pc:sldChg>
      <pc:sldChg chg="addSp modSp mod">
        <pc:chgData name="Michel Kuijer" userId="fd540037-e7ef-48d3-b097-399e36e35848" providerId="ADAL" clId="{932BA450-7380-4A07-8BA8-135167136348}" dt="2023-07-01T13:46:54.216" v="987" actId="108"/>
        <pc:sldMkLst>
          <pc:docMk/>
          <pc:sldMk cId="2441008964" sldId="1097"/>
        </pc:sldMkLst>
        <pc:spChg chg="add mod">
          <ac:chgData name="Michel Kuijer" userId="fd540037-e7ef-48d3-b097-399e36e35848" providerId="ADAL" clId="{932BA450-7380-4A07-8BA8-135167136348}" dt="2023-07-01T13:34:16.913" v="99" actId="6549"/>
          <ac:spMkLst>
            <pc:docMk/>
            <pc:sldMk cId="2441008964" sldId="1097"/>
            <ac:spMk id="2" creationId="{9CDD4551-982A-2924-3A32-5A34C0339EC7}"/>
          </ac:spMkLst>
        </pc:spChg>
        <pc:spChg chg="add mod">
          <ac:chgData name="Michel Kuijer" userId="fd540037-e7ef-48d3-b097-399e36e35848" providerId="ADAL" clId="{932BA450-7380-4A07-8BA8-135167136348}" dt="2023-07-01T13:34:36.360" v="133" actId="1037"/>
          <ac:spMkLst>
            <pc:docMk/>
            <pc:sldMk cId="2441008964" sldId="1097"/>
            <ac:spMk id="6" creationId="{2CCCDB5E-4D48-AE71-1992-C9A9356BC030}"/>
          </ac:spMkLst>
        </pc:spChg>
        <pc:spChg chg="add mod">
          <ac:chgData name="Michel Kuijer" userId="fd540037-e7ef-48d3-b097-399e36e35848" providerId="ADAL" clId="{932BA450-7380-4A07-8BA8-135167136348}" dt="2023-07-01T13:35:03.632" v="240" actId="6549"/>
          <ac:spMkLst>
            <pc:docMk/>
            <pc:sldMk cId="2441008964" sldId="1097"/>
            <ac:spMk id="7" creationId="{4482885F-2949-3E91-AEBD-D81EC665AC4B}"/>
          </ac:spMkLst>
        </pc:spChg>
        <pc:spChg chg="add mod">
          <ac:chgData name="Michel Kuijer" userId="fd540037-e7ef-48d3-b097-399e36e35848" providerId="ADAL" clId="{932BA450-7380-4A07-8BA8-135167136348}" dt="2023-07-01T13:35:21.292" v="268" actId="20577"/>
          <ac:spMkLst>
            <pc:docMk/>
            <pc:sldMk cId="2441008964" sldId="1097"/>
            <ac:spMk id="8" creationId="{E38D3776-B4A2-41A5-F297-66D184719377}"/>
          </ac:spMkLst>
        </pc:spChg>
        <pc:spChg chg="mod">
          <ac:chgData name="Michel Kuijer" userId="fd540037-e7ef-48d3-b097-399e36e35848" providerId="ADAL" clId="{932BA450-7380-4A07-8BA8-135167136348}" dt="2023-07-01T13:46:54.216" v="987" actId="108"/>
          <ac:spMkLst>
            <pc:docMk/>
            <pc:sldMk cId="2441008964" sldId="1097"/>
            <ac:spMk id="10" creationId="{D998D528-DCF4-CBC9-E71F-A08FF7A2F859}"/>
          </ac:spMkLst>
        </pc:spChg>
      </pc:sldChg>
    </pc:docChg>
  </pc:docChgLst>
  <pc:docChgLst>
    <pc:chgData name="Stefan Salome" userId="c8dc8e1a-06b7-4e71-a916-5fc9de161173" providerId="ADAL" clId="{C2192E32-0381-4FF3-BA12-78A7CFD0B5F7}"/>
    <pc:docChg chg="undo custSel addSld delSld modSld sldOrd">
      <pc:chgData name="Stefan Salome" userId="c8dc8e1a-06b7-4e71-a916-5fc9de161173" providerId="ADAL" clId="{C2192E32-0381-4FF3-BA12-78A7CFD0B5F7}" dt="2023-07-07T12:19:20.172" v="6132"/>
      <pc:docMkLst>
        <pc:docMk/>
      </pc:docMkLst>
      <pc:sldChg chg="modSp del mod">
        <pc:chgData name="Stefan Salome" userId="c8dc8e1a-06b7-4e71-a916-5fc9de161173" providerId="ADAL" clId="{C2192E32-0381-4FF3-BA12-78A7CFD0B5F7}" dt="2023-06-30T12:32:13.971" v="4255" actId="47"/>
        <pc:sldMkLst>
          <pc:docMk/>
          <pc:sldMk cId="0" sldId="268"/>
        </pc:sldMkLst>
        <pc:spChg chg="mod">
          <ac:chgData name="Stefan Salome" userId="c8dc8e1a-06b7-4e71-a916-5fc9de161173" providerId="ADAL" clId="{C2192E32-0381-4FF3-BA12-78A7CFD0B5F7}" dt="2023-06-30T12:31:40.737" v="4252" actId="14100"/>
          <ac:spMkLst>
            <pc:docMk/>
            <pc:sldMk cId="0" sldId="268"/>
            <ac:spMk id="2" creationId="{7A91BCFB-E958-4C9E-8ED4-C57F16AD4BA3}"/>
          </ac:spMkLst>
        </pc:spChg>
      </pc:sldChg>
      <pc:sldChg chg="modSp mod">
        <pc:chgData name="Stefan Salome" userId="c8dc8e1a-06b7-4e71-a916-5fc9de161173" providerId="ADAL" clId="{C2192E32-0381-4FF3-BA12-78A7CFD0B5F7}" dt="2023-07-06T11:49:23.165" v="6069" actId="20577"/>
        <pc:sldMkLst>
          <pc:docMk/>
          <pc:sldMk cId="4122790178" sldId="300"/>
        </pc:sldMkLst>
        <pc:spChg chg="mod">
          <ac:chgData name="Stefan Salome" userId="c8dc8e1a-06b7-4e71-a916-5fc9de161173" providerId="ADAL" clId="{C2192E32-0381-4FF3-BA12-78A7CFD0B5F7}" dt="2023-07-06T11:49:23.165" v="6069" actId="20577"/>
          <ac:spMkLst>
            <pc:docMk/>
            <pc:sldMk cId="4122790178" sldId="300"/>
            <ac:spMk id="2" creationId="{12DE98D4-FD01-42D1-9B6E-0508C1857977}"/>
          </ac:spMkLst>
        </pc:spChg>
      </pc:sldChg>
      <pc:sldChg chg="modSp del mod ord">
        <pc:chgData name="Stefan Salome" userId="c8dc8e1a-06b7-4e71-a916-5fc9de161173" providerId="ADAL" clId="{C2192E32-0381-4FF3-BA12-78A7CFD0B5F7}" dt="2023-07-05T12:09:12.873" v="4470" actId="47"/>
        <pc:sldMkLst>
          <pc:docMk/>
          <pc:sldMk cId="2358339726" sldId="533"/>
        </pc:sldMkLst>
        <pc:spChg chg="mod">
          <ac:chgData name="Stefan Salome" userId="c8dc8e1a-06b7-4e71-a916-5fc9de161173" providerId="ADAL" clId="{C2192E32-0381-4FF3-BA12-78A7CFD0B5F7}" dt="2023-06-29T12:09:41.035" v="680" actId="21"/>
          <ac:spMkLst>
            <pc:docMk/>
            <pc:sldMk cId="2358339726" sldId="533"/>
            <ac:spMk id="3" creationId="{CB5AB11B-1C97-4328-BB6C-C7B7DBC93484}"/>
          </ac:spMkLst>
        </pc:spChg>
        <pc:spChg chg="mod">
          <ac:chgData name="Stefan Salome" userId="c8dc8e1a-06b7-4e71-a916-5fc9de161173" providerId="ADAL" clId="{C2192E32-0381-4FF3-BA12-78A7CFD0B5F7}" dt="2023-06-29T12:09:46.117" v="690" actId="20577"/>
          <ac:spMkLst>
            <pc:docMk/>
            <pc:sldMk cId="2358339726" sldId="533"/>
            <ac:spMk id="4" creationId="{56276F1A-519F-49B0-A512-A358A1F74DB3}"/>
          </ac:spMkLst>
        </pc:spChg>
      </pc:sldChg>
      <pc:sldChg chg="del">
        <pc:chgData name="Stefan Salome" userId="c8dc8e1a-06b7-4e71-a916-5fc9de161173" providerId="ADAL" clId="{C2192E32-0381-4FF3-BA12-78A7CFD0B5F7}" dt="2023-07-05T12:31:08.416" v="4542" actId="47"/>
        <pc:sldMkLst>
          <pc:docMk/>
          <pc:sldMk cId="1856765429" sldId="558"/>
        </pc:sldMkLst>
      </pc:sldChg>
      <pc:sldChg chg="modSp mod ord modNotesTx">
        <pc:chgData name="Stefan Salome" userId="c8dc8e1a-06b7-4e71-a916-5fc9de161173" providerId="ADAL" clId="{C2192E32-0381-4FF3-BA12-78A7CFD0B5F7}" dt="2023-07-05T12:31:51.682" v="4544" actId="2711"/>
        <pc:sldMkLst>
          <pc:docMk/>
          <pc:sldMk cId="363860091" sldId="559"/>
        </pc:sldMkLst>
        <pc:spChg chg="mod">
          <ac:chgData name="Stefan Salome" userId="c8dc8e1a-06b7-4e71-a916-5fc9de161173" providerId="ADAL" clId="{C2192E32-0381-4FF3-BA12-78A7CFD0B5F7}" dt="2023-07-05T12:31:51.682" v="4544" actId="2711"/>
          <ac:spMkLst>
            <pc:docMk/>
            <pc:sldMk cId="363860091" sldId="559"/>
            <ac:spMk id="5" creationId="{170B3CF6-E1DB-4739-BB8F-9DD65598BE58}"/>
          </ac:spMkLst>
        </pc:spChg>
      </pc:sldChg>
      <pc:sldChg chg="addSp delSp modSp mod">
        <pc:chgData name="Stefan Salome" userId="c8dc8e1a-06b7-4e71-a916-5fc9de161173" providerId="ADAL" clId="{C2192E32-0381-4FF3-BA12-78A7CFD0B5F7}" dt="2023-07-06T08:32:01.108" v="5319" actId="14100"/>
        <pc:sldMkLst>
          <pc:docMk/>
          <pc:sldMk cId="2283745833" sldId="631"/>
        </pc:sldMkLst>
        <pc:spChg chg="mod">
          <ac:chgData name="Stefan Salome" userId="c8dc8e1a-06b7-4e71-a916-5fc9de161173" providerId="ADAL" clId="{C2192E32-0381-4FF3-BA12-78A7CFD0B5F7}" dt="2023-07-05T14:53:23.581" v="4906" actId="20577"/>
          <ac:spMkLst>
            <pc:docMk/>
            <pc:sldMk cId="2283745833" sldId="631"/>
            <ac:spMk id="3" creationId="{E5D1510C-57F1-B42C-615D-25319DEB9F21}"/>
          </ac:spMkLst>
        </pc:spChg>
        <pc:spChg chg="mod">
          <ac:chgData name="Stefan Salome" userId="c8dc8e1a-06b7-4e71-a916-5fc9de161173" providerId="ADAL" clId="{C2192E32-0381-4FF3-BA12-78A7CFD0B5F7}" dt="2023-07-06T08:32:01.108" v="5319" actId="14100"/>
          <ac:spMkLst>
            <pc:docMk/>
            <pc:sldMk cId="2283745833" sldId="631"/>
            <ac:spMk id="4" creationId="{B608CAA9-2066-5446-BC6B-C6A82A92999A}"/>
          </ac:spMkLst>
        </pc:spChg>
        <pc:picChg chg="del">
          <ac:chgData name="Stefan Salome" userId="c8dc8e1a-06b7-4e71-a916-5fc9de161173" providerId="ADAL" clId="{C2192E32-0381-4FF3-BA12-78A7CFD0B5F7}" dt="2023-06-30T07:17:55.559" v="1156" actId="478"/>
          <ac:picMkLst>
            <pc:docMk/>
            <pc:sldMk cId="2283745833" sldId="631"/>
            <ac:picMk id="6" creationId="{7D14CA52-6F70-579A-0C44-1824A8504684}"/>
          </ac:picMkLst>
        </pc:picChg>
        <pc:picChg chg="add mod">
          <ac:chgData name="Stefan Salome" userId="c8dc8e1a-06b7-4e71-a916-5fc9de161173" providerId="ADAL" clId="{C2192E32-0381-4FF3-BA12-78A7CFD0B5F7}" dt="2023-06-30T09:24:39.296" v="2237" actId="1076"/>
          <ac:picMkLst>
            <pc:docMk/>
            <pc:sldMk cId="2283745833" sldId="631"/>
            <ac:picMk id="7" creationId="{307147C8-E30A-A298-A005-F5A8A8FEAAF6}"/>
          </ac:picMkLst>
        </pc:picChg>
        <pc:picChg chg="del">
          <ac:chgData name="Stefan Salome" userId="c8dc8e1a-06b7-4e71-a916-5fc9de161173" providerId="ADAL" clId="{C2192E32-0381-4FF3-BA12-78A7CFD0B5F7}" dt="2023-06-30T07:17:52.805" v="1154" actId="478"/>
          <ac:picMkLst>
            <pc:docMk/>
            <pc:sldMk cId="2283745833" sldId="631"/>
            <ac:picMk id="9" creationId="{15EE0912-416C-3F3B-2600-17A71EA72177}"/>
          </ac:picMkLst>
        </pc:picChg>
        <pc:picChg chg="del">
          <ac:chgData name="Stefan Salome" userId="c8dc8e1a-06b7-4e71-a916-5fc9de161173" providerId="ADAL" clId="{C2192E32-0381-4FF3-BA12-78A7CFD0B5F7}" dt="2023-06-30T07:17:51.572" v="1153" actId="478"/>
          <ac:picMkLst>
            <pc:docMk/>
            <pc:sldMk cId="2283745833" sldId="631"/>
            <ac:picMk id="11" creationId="{6B494463-FE8A-87CA-69CD-F727A20E7DE8}"/>
          </ac:picMkLst>
        </pc:picChg>
        <pc:picChg chg="del">
          <ac:chgData name="Stefan Salome" userId="c8dc8e1a-06b7-4e71-a916-5fc9de161173" providerId="ADAL" clId="{C2192E32-0381-4FF3-BA12-78A7CFD0B5F7}" dt="2023-06-30T07:17:54.107" v="1155" actId="478"/>
          <ac:picMkLst>
            <pc:docMk/>
            <pc:sldMk cId="2283745833" sldId="631"/>
            <ac:picMk id="13" creationId="{26FA87FA-CF70-84B0-5713-1BA55EB2756F}"/>
          </ac:picMkLst>
        </pc:picChg>
        <pc:picChg chg="add del mod">
          <ac:chgData name="Stefan Salome" userId="c8dc8e1a-06b7-4e71-a916-5fc9de161173" providerId="ADAL" clId="{C2192E32-0381-4FF3-BA12-78A7CFD0B5F7}" dt="2023-06-30T09:22:58.231" v="2232" actId="478"/>
          <ac:picMkLst>
            <pc:docMk/>
            <pc:sldMk cId="2283745833" sldId="631"/>
            <ac:picMk id="1026" creationId="{DC9F73C7-9A42-AFE5-D67C-C5B79E7A2090}"/>
          </ac:picMkLst>
        </pc:picChg>
        <pc:cxnChg chg="del">
          <ac:chgData name="Stefan Salome" userId="c8dc8e1a-06b7-4e71-a916-5fc9de161173" providerId="ADAL" clId="{C2192E32-0381-4FF3-BA12-78A7CFD0B5F7}" dt="2023-06-30T07:17:57.632" v="1157" actId="478"/>
          <ac:cxnSpMkLst>
            <pc:docMk/>
            <pc:sldMk cId="2283745833" sldId="631"/>
            <ac:cxnSpMk id="15" creationId="{E700FD6A-413E-7784-649B-197D9C697CD2}"/>
          </ac:cxnSpMkLst>
        </pc:cxnChg>
      </pc:sldChg>
      <pc:sldChg chg="modSp mod">
        <pc:chgData name="Stefan Salome" userId="c8dc8e1a-06b7-4e71-a916-5fc9de161173" providerId="ADAL" clId="{C2192E32-0381-4FF3-BA12-78A7CFD0B5F7}" dt="2023-07-06T08:13:58.105" v="5133" actId="5793"/>
        <pc:sldMkLst>
          <pc:docMk/>
          <pc:sldMk cId="4003086878" sldId="636"/>
        </pc:sldMkLst>
        <pc:spChg chg="mod">
          <ac:chgData name="Stefan Salome" userId="c8dc8e1a-06b7-4e71-a916-5fc9de161173" providerId="ADAL" clId="{C2192E32-0381-4FF3-BA12-78A7CFD0B5F7}" dt="2023-07-03T14:52:55.170" v="4431" actId="114"/>
          <ac:spMkLst>
            <pc:docMk/>
            <pc:sldMk cId="4003086878" sldId="636"/>
            <ac:spMk id="4" creationId="{49EF1491-38AF-46FA-B46A-10987DFC7DA5}"/>
          </ac:spMkLst>
        </pc:spChg>
        <pc:spChg chg="mod">
          <ac:chgData name="Stefan Salome" userId="c8dc8e1a-06b7-4e71-a916-5fc9de161173" providerId="ADAL" clId="{C2192E32-0381-4FF3-BA12-78A7CFD0B5F7}" dt="2023-07-06T08:13:58.105" v="5133" actId="5793"/>
          <ac:spMkLst>
            <pc:docMk/>
            <pc:sldMk cId="4003086878" sldId="636"/>
            <ac:spMk id="7" creationId="{56C0CA39-5A82-C711-A2D9-5A1A77747630}"/>
          </ac:spMkLst>
        </pc:spChg>
      </pc:sldChg>
      <pc:sldChg chg="addSp delSp modSp add mod">
        <pc:chgData name="Stefan Salome" userId="c8dc8e1a-06b7-4e71-a916-5fc9de161173" providerId="ADAL" clId="{C2192E32-0381-4FF3-BA12-78A7CFD0B5F7}" dt="2023-07-03T14:51:02.078" v="4404" actId="2711"/>
        <pc:sldMkLst>
          <pc:docMk/>
          <pc:sldMk cId="1633695052" sldId="637"/>
        </pc:sldMkLst>
        <pc:spChg chg="add del">
          <ac:chgData name="Stefan Salome" userId="c8dc8e1a-06b7-4e71-a916-5fc9de161173" providerId="ADAL" clId="{C2192E32-0381-4FF3-BA12-78A7CFD0B5F7}" dt="2023-06-30T11:09:29.083" v="3673" actId="478"/>
          <ac:spMkLst>
            <pc:docMk/>
            <pc:sldMk cId="1633695052" sldId="637"/>
            <ac:spMk id="4" creationId="{8CE93A8D-C4C8-B045-565B-09DA894F1E6C}"/>
          </ac:spMkLst>
        </pc:spChg>
        <pc:spChg chg="mod">
          <ac:chgData name="Stefan Salome" userId="c8dc8e1a-06b7-4e71-a916-5fc9de161173" providerId="ADAL" clId="{C2192E32-0381-4FF3-BA12-78A7CFD0B5F7}" dt="2023-07-03T14:51:02.078" v="4404" actId="2711"/>
          <ac:spMkLst>
            <pc:docMk/>
            <pc:sldMk cId="1633695052" sldId="637"/>
            <ac:spMk id="9" creationId="{6AB44400-CF50-A717-000E-BC8605668626}"/>
          </ac:spMkLst>
        </pc:spChg>
        <pc:picChg chg="mod modCrop">
          <ac:chgData name="Stefan Salome" userId="c8dc8e1a-06b7-4e71-a916-5fc9de161173" providerId="ADAL" clId="{C2192E32-0381-4FF3-BA12-78A7CFD0B5F7}" dt="2023-06-30T11:09:16.056" v="3671" actId="732"/>
          <ac:picMkLst>
            <pc:docMk/>
            <pc:sldMk cId="1633695052" sldId="637"/>
            <ac:picMk id="10" creationId="{1523073A-F104-DC7E-EE47-949D2606F37D}"/>
          </ac:picMkLst>
        </pc:picChg>
      </pc:sldChg>
      <pc:sldChg chg="del">
        <pc:chgData name="Stefan Salome" userId="c8dc8e1a-06b7-4e71-a916-5fc9de161173" providerId="ADAL" clId="{C2192E32-0381-4FF3-BA12-78A7CFD0B5F7}" dt="2023-06-30T08:04:46.031" v="1831" actId="47"/>
        <pc:sldMkLst>
          <pc:docMk/>
          <pc:sldMk cId="4175268589" sldId="642"/>
        </pc:sldMkLst>
      </pc:sldChg>
      <pc:sldChg chg="del">
        <pc:chgData name="Stefan Salome" userId="c8dc8e1a-06b7-4e71-a916-5fc9de161173" providerId="ADAL" clId="{C2192E32-0381-4FF3-BA12-78A7CFD0B5F7}" dt="2023-06-30T07:40:00.695" v="1805" actId="47"/>
        <pc:sldMkLst>
          <pc:docMk/>
          <pc:sldMk cId="176010365" sldId="646"/>
        </pc:sldMkLst>
      </pc:sldChg>
      <pc:sldChg chg="addSp modSp mod modAnim">
        <pc:chgData name="Stefan Salome" userId="c8dc8e1a-06b7-4e71-a916-5fc9de161173" providerId="ADAL" clId="{C2192E32-0381-4FF3-BA12-78A7CFD0B5F7}" dt="2023-07-03T14:52:48.823" v="4429" actId="114"/>
        <pc:sldMkLst>
          <pc:docMk/>
          <pc:sldMk cId="2498401623" sldId="648"/>
        </pc:sldMkLst>
        <pc:spChg chg="add mod">
          <ac:chgData name="Stefan Salome" userId="c8dc8e1a-06b7-4e71-a916-5fc9de161173" providerId="ADAL" clId="{C2192E32-0381-4FF3-BA12-78A7CFD0B5F7}" dt="2023-06-29T14:09:18.844" v="951" actId="1076"/>
          <ac:spMkLst>
            <pc:docMk/>
            <pc:sldMk cId="2498401623" sldId="648"/>
            <ac:spMk id="2" creationId="{C9C3EFC3-EA9D-1533-B449-FA4FA43C5E4F}"/>
          </ac:spMkLst>
        </pc:spChg>
        <pc:spChg chg="add mod">
          <ac:chgData name="Stefan Salome" userId="c8dc8e1a-06b7-4e71-a916-5fc9de161173" providerId="ADAL" clId="{C2192E32-0381-4FF3-BA12-78A7CFD0B5F7}" dt="2023-06-30T07:16:24.345" v="1024" actId="1076"/>
          <ac:spMkLst>
            <pc:docMk/>
            <pc:sldMk cId="2498401623" sldId="648"/>
            <ac:spMk id="3" creationId="{CB7C59DE-11EB-13B4-CFB3-62EFE0D28751}"/>
          </ac:spMkLst>
        </pc:spChg>
        <pc:spChg chg="mod">
          <ac:chgData name="Stefan Salome" userId="c8dc8e1a-06b7-4e71-a916-5fc9de161173" providerId="ADAL" clId="{C2192E32-0381-4FF3-BA12-78A7CFD0B5F7}" dt="2023-07-03T14:52:48.823" v="4429" actId="114"/>
          <ac:spMkLst>
            <pc:docMk/>
            <pc:sldMk cId="2498401623" sldId="648"/>
            <ac:spMk id="4" creationId="{49EF1491-38AF-46FA-B46A-10987DFC7DA5}"/>
          </ac:spMkLst>
        </pc:spChg>
        <pc:picChg chg="mod modCrop">
          <ac:chgData name="Stefan Salome" userId="c8dc8e1a-06b7-4e71-a916-5fc9de161173" providerId="ADAL" clId="{C2192E32-0381-4FF3-BA12-78A7CFD0B5F7}" dt="2023-06-29T13:37:12.379" v="853" actId="1076"/>
          <ac:picMkLst>
            <pc:docMk/>
            <pc:sldMk cId="2498401623" sldId="648"/>
            <ac:picMk id="10" creationId="{85B023AE-3C62-11A0-06D8-164BE8C7A8D3}"/>
          </ac:picMkLst>
        </pc:picChg>
      </pc:sldChg>
      <pc:sldChg chg="addSp delSp modSp mod modAnim">
        <pc:chgData name="Stefan Salome" userId="c8dc8e1a-06b7-4e71-a916-5fc9de161173" providerId="ADAL" clId="{C2192E32-0381-4FF3-BA12-78A7CFD0B5F7}" dt="2023-07-06T11:04:20.077" v="6068"/>
        <pc:sldMkLst>
          <pc:docMk/>
          <pc:sldMk cId="2273866024" sldId="649"/>
        </pc:sldMkLst>
        <pc:spChg chg="add mod">
          <ac:chgData name="Stefan Salome" userId="c8dc8e1a-06b7-4e71-a916-5fc9de161173" providerId="ADAL" clId="{C2192E32-0381-4FF3-BA12-78A7CFD0B5F7}" dt="2023-07-06T08:18:23.228" v="5146" actId="14100"/>
          <ac:spMkLst>
            <pc:docMk/>
            <pc:sldMk cId="2273866024" sldId="649"/>
            <ac:spMk id="2" creationId="{42C58417-483E-C4B0-8548-E6BA3C833319}"/>
          </ac:spMkLst>
        </pc:spChg>
        <pc:spChg chg="mod">
          <ac:chgData name="Stefan Salome" userId="c8dc8e1a-06b7-4e71-a916-5fc9de161173" providerId="ADAL" clId="{C2192E32-0381-4FF3-BA12-78A7CFD0B5F7}" dt="2023-07-03T14:52:38.433" v="4427" actId="114"/>
          <ac:spMkLst>
            <pc:docMk/>
            <pc:sldMk cId="2273866024" sldId="649"/>
            <ac:spMk id="4" creationId="{49EF1491-38AF-46FA-B46A-10987DFC7DA5}"/>
          </ac:spMkLst>
        </pc:spChg>
        <pc:spChg chg="mod ord">
          <ac:chgData name="Stefan Salome" userId="c8dc8e1a-06b7-4e71-a916-5fc9de161173" providerId="ADAL" clId="{C2192E32-0381-4FF3-BA12-78A7CFD0B5F7}" dt="2023-06-30T09:17:43.306" v="2209" actId="14100"/>
          <ac:spMkLst>
            <pc:docMk/>
            <pc:sldMk cId="2273866024" sldId="649"/>
            <ac:spMk id="5" creationId="{8DF76C8D-1CA4-4BEE-E01E-E8D65812771E}"/>
          </ac:spMkLst>
        </pc:spChg>
        <pc:spChg chg="add mod ord">
          <ac:chgData name="Stefan Salome" userId="c8dc8e1a-06b7-4e71-a916-5fc9de161173" providerId="ADAL" clId="{C2192E32-0381-4FF3-BA12-78A7CFD0B5F7}" dt="2023-06-30T09:21:56.807" v="2227" actId="207"/>
          <ac:spMkLst>
            <pc:docMk/>
            <pc:sldMk cId="2273866024" sldId="649"/>
            <ac:spMk id="11" creationId="{D68FF1AB-0B52-DE86-A1AA-EE8F1D111845}"/>
          </ac:spMkLst>
        </pc:spChg>
        <pc:spChg chg="add mod">
          <ac:chgData name="Stefan Salome" userId="c8dc8e1a-06b7-4e71-a916-5fc9de161173" providerId="ADAL" clId="{C2192E32-0381-4FF3-BA12-78A7CFD0B5F7}" dt="2023-06-30T07:52:45.152" v="1819" actId="14100"/>
          <ac:spMkLst>
            <pc:docMk/>
            <pc:sldMk cId="2273866024" sldId="649"/>
            <ac:spMk id="12" creationId="{C2FD7627-2DBB-2F67-0F39-67C880CC5374}"/>
          </ac:spMkLst>
        </pc:spChg>
        <pc:picChg chg="del">
          <ac:chgData name="Stefan Salome" userId="c8dc8e1a-06b7-4e71-a916-5fc9de161173" providerId="ADAL" clId="{C2192E32-0381-4FF3-BA12-78A7CFD0B5F7}" dt="2023-06-29T14:56:51.021" v="953" actId="478"/>
          <ac:picMkLst>
            <pc:docMk/>
            <pc:sldMk cId="2273866024" sldId="649"/>
            <ac:picMk id="3" creationId="{5AB842D1-0978-E3B6-629F-682F4E3358A6}"/>
          </ac:picMkLst>
        </pc:picChg>
        <pc:picChg chg="add mod ord">
          <ac:chgData name="Stefan Salome" userId="c8dc8e1a-06b7-4e71-a916-5fc9de161173" providerId="ADAL" clId="{C2192E32-0381-4FF3-BA12-78A7CFD0B5F7}" dt="2023-07-05T13:50:54.587" v="4827" actId="1076"/>
          <ac:picMkLst>
            <pc:docMk/>
            <pc:sldMk cId="2273866024" sldId="649"/>
            <ac:picMk id="3" creationId="{9815D854-EF6B-48C2-42E5-325F5F381D2E}"/>
          </ac:picMkLst>
        </pc:picChg>
        <pc:picChg chg="add del mod">
          <ac:chgData name="Stefan Salome" userId="c8dc8e1a-06b7-4e71-a916-5fc9de161173" providerId="ADAL" clId="{C2192E32-0381-4FF3-BA12-78A7CFD0B5F7}" dt="2023-06-30T07:14:48.049" v="1016" actId="478"/>
          <ac:picMkLst>
            <pc:docMk/>
            <pc:sldMk cId="2273866024" sldId="649"/>
            <ac:picMk id="8" creationId="{281A3641-A9F1-151C-BE50-007FB4F08225}"/>
          </ac:picMkLst>
        </pc:picChg>
        <pc:picChg chg="add del mod ord">
          <ac:chgData name="Stefan Salome" userId="c8dc8e1a-06b7-4e71-a916-5fc9de161173" providerId="ADAL" clId="{C2192E32-0381-4FF3-BA12-78A7CFD0B5F7}" dt="2023-07-05T13:50:31.412" v="4821" actId="478"/>
          <ac:picMkLst>
            <pc:docMk/>
            <pc:sldMk cId="2273866024" sldId="649"/>
            <ac:picMk id="10" creationId="{7496142A-0156-4EF1-E595-157F84D3A8AC}"/>
          </ac:picMkLst>
        </pc:picChg>
      </pc:sldChg>
      <pc:sldChg chg="addSp delSp modSp mod">
        <pc:chgData name="Stefan Salome" userId="c8dc8e1a-06b7-4e71-a916-5fc9de161173" providerId="ADAL" clId="{C2192E32-0381-4FF3-BA12-78A7CFD0B5F7}" dt="2023-07-07T09:05:20.768" v="6097" actId="1038"/>
        <pc:sldMkLst>
          <pc:docMk/>
          <pc:sldMk cId="1074801486" sldId="650"/>
        </pc:sldMkLst>
        <pc:spChg chg="add del mod">
          <ac:chgData name="Stefan Salome" userId="c8dc8e1a-06b7-4e71-a916-5fc9de161173" providerId="ADAL" clId="{C2192E32-0381-4FF3-BA12-78A7CFD0B5F7}" dt="2023-06-30T09:16:42.221" v="2205" actId="478"/>
          <ac:spMkLst>
            <pc:docMk/>
            <pc:sldMk cId="1074801486" sldId="650"/>
            <ac:spMk id="2" creationId="{E62B743D-3A6A-A6EF-D61E-8DDAF0CE4C3E}"/>
          </ac:spMkLst>
        </pc:spChg>
        <pc:spChg chg="add del mod">
          <ac:chgData name="Stefan Salome" userId="c8dc8e1a-06b7-4e71-a916-5fc9de161173" providerId="ADAL" clId="{C2192E32-0381-4FF3-BA12-78A7CFD0B5F7}" dt="2023-06-30T08:08:23.665" v="1859" actId="478"/>
          <ac:spMkLst>
            <pc:docMk/>
            <pc:sldMk cId="1074801486" sldId="650"/>
            <ac:spMk id="3" creationId="{36718932-C8EF-09F7-A00F-C792D0541D9C}"/>
          </ac:spMkLst>
        </pc:spChg>
        <pc:spChg chg="mod">
          <ac:chgData name="Stefan Salome" userId="c8dc8e1a-06b7-4e71-a916-5fc9de161173" providerId="ADAL" clId="{C2192E32-0381-4FF3-BA12-78A7CFD0B5F7}" dt="2023-07-03T14:52:07.341" v="4418" actId="114"/>
          <ac:spMkLst>
            <pc:docMk/>
            <pc:sldMk cId="1074801486" sldId="650"/>
            <ac:spMk id="4" creationId="{91C24E91-DF0F-455C-2A2E-105E199909EF}"/>
          </ac:spMkLst>
        </pc:spChg>
        <pc:picChg chg="add del mod">
          <ac:chgData name="Stefan Salome" userId="c8dc8e1a-06b7-4e71-a916-5fc9de161173" providerId="ADAL" clId="{C2192E32-0381-4FF3-BA12-78A7CFD0B5F7}" dt="2023-07-06T09:21:25.756" v="6033" actId="478"/>
          <ac:picMkLst>
            <pc:docMk/>
            <pc:sldMk cId="1074801486" sldId="650"/>
            <ac:picMk id="3" creationId="{52238BA0-594B-10BE-41C4-63D149D76B32}"/>
          </ac:picMkLst>
        </pc:picChg>
        <pc:picChg chg="add del mod">
          <ac:chgData name="Stefan Salome" userId="c8dc8e1a-06b7-4e71-a916-5fc9de161173" providerId="ADAL" clId="{C2192E32-0381-4FF3-BA12-78A7CFD0B5F7}" dt="2023-07-07T09:03:59.682" v="6070" actId="478"/>
          <ac:picMkLst>
            <pc:docMk/>
            <pc:sldMk cId="1074801486" sldId="650"/>
            <ac:picMk id="5" creationId="{3DC26598-253B-CD4B-25D1-B5D0138AD2DE}"/>
          </ac:picMkLst>
        </pc:picChg>
        <pc:picChg chg="add del mod">
          <ac:chgData name="Stefan Salome" userId="c8dc8e1a-06b7-4e71-a916-5fc9de161173" providerId="ADAL" clId="{C2192E32-0381-4FF3-BA12-78A7CFD0B5F7}" dt="2023-07-03T15:02:14.546" v="4447" actId="478"/>
          <ac:picMkLst>
            <pc:docMk/>
            <pc:sldMk cId="1074801486" sldId="650"/>
            <ac:picMk id="6" creationId="{391A8A43-3049-80E1-814B-C75F03B8209E}"/>
          </ac:picMkLst>
        </pc:picChg>
        <pc:picChg chg="add del mod">
          <ac:chgData name="Stefan Salome" userId="c8dc8e1a-06b7-4e71-a916-5fc9de161173" providerId="ADAL" clId="{C2192E32-0381-4FF3-BA12-78A7CFD0B5F7}" dt="2023-07-07T09:04:14.896" v="6076" actId="478"/>
          <ac:picMkLst>
            <pc:docMk/>
            <pc:sldMk cId="1074801486" sldId="650"/>
            <ac:picMk id="7" creationId="{06A51EAB-000D-B96C-2094-DFEA9C5A9E63}"/>
          </ac:picMkLst>
        </pc:picChg>
        <pc:picChg chg="add mod">
          <ac:chgData name="Stefan Salome" userId="c8dc8e1a-06b7-4e71-a916-5fc9de161173" providerId="ADAL" clId="{C2192E32-0381-4FF3-BA12-78A7CFD0B5F7}" dt="2023-07-07T09:05:20.768" v="6097" actId="1038"/>
          <ac:picMkLst>
            <pc:docMk/>
            <pc:sldMk cId="1074801486" sldId="650"/>
            <ac:picMk id="9" creationId="{CE8EF476-93CC-CB70-2C70-DFF4A8FC82D0}"/>
          </ac:picMkLst>
        </pc:picChg>
        <pc:picChg chg="del mod">
          <ac:chgData name="Stefan Salome" userId="c8dc8e1a-06b7-4e71-a916-5fc9de161173" providerId="ADAL" clId="{C2192E32-0381-4FF3-BA12-78A7CFD0B5F7}" dt="2023-06-30T08:10:24.547" v="1885" actId="478"/>
          <ac:picMkLst>
            <pc:docMk/>
            <pc:sldMk cId="1074801486" sldId="650"/>
            <ac:picMk id="10" creationId="{4AF2897B-DDFA-CD9D-F50B-8EB099FFF93A}"/>
          </ac:picMkLst>
        </pc:picChg>
      </pc:sldChg>
      <pc:sldChg chg="addSp delSp modSp mod addAnim delAnim modAnim">
        <pc:chgData name="Stefan Salome" userId="c8dc8e1a-06b7-4e71-a916-5fc9de161173" providerId="ADAL" clId="{C2192E32-0381-4FF3-BA12-78A7CFD0B5F7}" dt="2023-07-07T12:15:31.676" v="6129" actId="1076"/>
        <pc:sldMkLst>
          <pc:docMk/>
          <pc:sldMk cId="3046026148" sldId="651"/>
        </pc:sldMkLst>
        <pc:spChg chg="mod">
          <ac:chgData name="Stefan Salome" userId="c8dc8e1a-06b7-4e71-a916-5fc9de161173" providerId="ADAL" clId="{C2192E32-0381-4FF3-BA12-78A7CFD0B5F7}" dt="2023-07-06T08:08:53.524" v="5096" actId="1076"/>
          <ac:spMkLst>
            <pc:docMk/>
            <pc:sldMk cId="3046026148" sldId="651"/>
            <ac:spMk id="4" creationId="{BC4A93BE-634C-757D-6B09-951A411ACCEC}"/>
          </ac:spMkLst>
        </pc:spChg>
        <pc:picChg chg="add mod ord">
          <ac:chgData name="Stefan Salome" userId="c8dc8e1a-06b7-4e71-a916-5fc9de161173" providerId="ADAL" clId="{C2192E32-0381-4FF3-BA12-78A7CFD0B5F7}" dt="2023-06-30T12:51:22.336" v="4332" actId="1076"/>
          <ac:picMkLst>
            <pc:docMk/>
            <pc:sldMk cId="3046026148" sldId="651"/>
            <ac:picMk id="3" creationId="{E27F790F-554C-730E-4ACB-06744E5D6751}"/>
          </ac:picMkLst>
        </pc:picChg>
        <pc:picChg chg="add mod">
          <ac:chgData name="Stefan Salome" userId="c8dc8e1a-06b7-4e71-a916-5fc9de161173" providerId="ADAL" clId="{C2192E32-0381-4FF3-BA12-78A7CFD0B5F7}" dt="2023-06-30T12:51:07.472" v="4328" actId="1076"/>
          <ac:picMkLst>
            <pc:docMk/>
            <pc:sldMk cId="3046026148" sldId="651"/>
            <ac:picMk id="6" creationId="{696FDC71-E1FF-72D6-F86B-8FA58D174041}"/>
          </ac:picMkLst>
        </pc:picChg>
        <pc:picChg chg="add del">
          <ac:chgData name="Stefan Salome" userId="c8dc8e1a-06b7-4e71-a916-5fc9de161173" providerId="ADAL" clId="{C2192E32-0381-4FF3-BA12-78A7CFD0B5F7}" dt="2023-06-30T12:34:53.503" v="4291" actId="478"/>
          <ac:picMkLst>
            <pc:docMk/>
            <pc:sldMk cId="3046026148" sldId="651"/>
            <ac:picMk id="8" creationId="{90BAF0A4-5ABA-9944-C557-D5B0325F39E8}"/>
          </ac:picMkLst>
        </pc:picChg>
        <pc:picChg chg="add mod">
          <ac:chgData name="Stefan Salome" userId="c8dc8e1a-06b7-4e71-a916-5fc9de161173" providerId="ADAL" clId="{C2192E32-0381-4FF3-BA12-78A7CFD0B5F7}" dt="2023-06-30T12:51:15.840" v="4329" actId="1076"/>
          <ac:picMkLst>
            <pc:docMk/>
            <pc:sldMk cId="3046026148" sldId="651"/>
            <ac:picMk id="9" creationId="{D6457DB5-63FF-A835-941F-4D498FC5CCB8}"/>
          </ac:picMkLst>
        </pc:picChg>
        <pc:picChg chg="add del mod">
          <ac:chgData name="Stefan Salome" userId="c8dc8e1a-06b7-4e71-a916-5fc9de161173" providerId="ADAL" clId="{C2192E32-0381-4FF3-BA12-78A7CFD0B5F7}" dt="2023-06-30T12:54:43.674" v="4338" actId="478"/>
          <ac:picMkLst>
            <pc:docMk/>
            <pc:sldMk cId="3046026148" sldId="651"/>
            <ac:picMk id="10" creationId="{9964C484-0CD3-795F-B652-2D28B4256B37}"/>
          </ac:picMkLst>
        </pc:picChg>
        <pc:picChg chg="add del mod">
          <ac:chgData name="Stefan Salome" userId="c8dc8e1a-06b7-4e71-a916-5fc9de161173" providerId="ADAL" clId="{C2192E32-0381-4FF3-BA12-78A7CFD0B5F7}" dt="2023-06-30T12:54:57.361" v="4340" actId="21"/>
          <ac:picMkLst>
            <pc:docMk/>
            <pc:sldMk cId="3046026148" sldId="651"/>
            <ac:picMk id="11" creationId="{C0C79401-3F96-27CB-C9E1-92AC3FBC304B}"/>
          </ac:picMkLst>
        </pc:picChg>
        <pc:picChg chg="add mod">
          <ac:chgData name="Stefan Salome" userId="c8dc8e1a-06b7-4e71-a916-5fc9de161173" providerId="ADAL" clId="{C2192E32-0381-4FF3-BA12-78A7CFD0B5F7}" dt="2023-06-30T12:56:45.833" v="4348" actId="1076"/>
          <ac:picMkLst>
            <pc:docMk/>
            <pc:sldMk cId="3046026148" sldId="651"/>
            <ac:picMk id="13" creationId="{E97DA89C-7FED-005A-9CBC-4565450632DD}"/>
          </ac:picMkLst>
        </pc:picChg>
        <pc:picChg chg="add del">
          <ac:chgData name="Stefan Salome" userId="c8dc8e1a-06b7-4e71-a916-5fc9de161173" providerId="ADAL" clId="{C2192E32-0381-4FF3-BA12-78A7CFD0B5F7}" dt="2023-06-30T12:34:01.806" v="4280" actId="478"/>
          <ac:picMkLst>
            <pc:docMk/>
            <pc:sldMk cId="3046026148" sldId="651"/>
            <ac:picMk id="14" creationId="{D1CC2082-F6B6-3EF4-4291-3D83109F508A}"/>
          </ac:picMkLst>
        </pc:picChg>
        <pc:picChg chg="add del mod">
          <ac:chgData name="Stefan Salome" userId="c8dc8e1a-06b7-4e71-a916-5fc9de161173" providerId="ADAL" clId="{C2192E32-0381-4FF3-BA12-78A7CFD0B5F7}" dt="2023-07-07T12:15:27.175" v="6128" actId="478"/>
          <ac:picMkLst>
            <pc:docMk/>
            <pc:sldMk cId="3046026148" sldId="651"/>
            <ac:picMk id="15" creationId="{CF03FA1A-FFE8-3358-BDCF-A62C9FF2C90E}"/>
          </ac:picMkLst>
        </pc:picChg>
        <pc:picChg chg="add del mod">
          <ac:chgData name="Stefan Salome" userId="c8dc8e1a-06b7-4e71-a916-5fc9de161173" providerId="ADAL" clId="{C2192E32-0381-4FF3-BA12-78A7CFD0B5F7}" dt="2023-06-30T12:34:51.542" v="4290" actId="478"/>
          <ac:picMkLst>
            <pc:docMk/>
            <pc:sldMk cId="3046026148" sldId="651"/>
            <ac:picMk id="16" creationId="{3897D893-7F9C-516D-4CE3-5D2A864099E0}"/>
          </ac:picMkLst>
        </pc:picChg>
        <pc:picChg chg="add del">
          <ac:chgData name="Stefan Salome" userId="c8dc8e1a-06b7-4e71-a916-5fc9de161173" providerId="ADAL" clId="{C2192E32-0381-4FF3-BA12-78A7CFD0B5F7}" dt="2023-06-30T12:34:49.059" v="4289" actId="478"/>
          <ac:picMkLst>
            <pc:docMk/>
            <pc:sldMk cId="3046026148" sldId="651"/>
            <ac:picMk id="18" creationId="{63A26604-AB1D-E585-BD7B-1C29F123E08B}"/>
          </ac:picMkLst>
        </pc:picChg>
        <pc:picChg chg="add mod">
          <ac:chgData name="Stefan Salome" userId="c8dc8e1a-06b7-4e71-a916-5fc9de161173" providerId="ADAL" clId="{C2192E32-0381-4FF3-BA12-78A7CFD0B5F7}" dt="2023-07-07T12:15:31.676" v="6129" actId="1076"/>
          <ac:picMkLst>
            <pc:docMk/>
            <pc:sldMk cId="3046026148" sldId="651"/>
            <ac:picMk id="19" creationId="{994A8CC7-977F-6B25-DF89-1342D4211FE3}"/>
          </ac:picMkLst>
        </pc:picChg>
        <pc:picChg chg="add del">
          <ac:chgData name="Stefan Salome" userId="c8dc8e1a-06b7-4e71-a916-5fc9de161173" providerId="ADAL" clId="{C2192E32-0381-4FF3-BA12-78A7CFD0B5F7}" dt="2023-06-30T12:34:00.671" v="4279" actId="478"/>
          <ac:picMkLst>
            <pc:docMk/>
            <pc:sldMk cId="3046026148" sldId="651"/>
            <ac:picMk id="20" creationId="{DCC954A7-06B5-0259-A40F-D08F6BD02C4C}"/>
          </ac:picMkLst>
        </pc:picChg>
        <pc:picChg chg="add del">
          <ac:chgData name="Stefan Salome" userId="c8dc8e1a-06b7-4e71-a916-5fc9de161173" providerId="ADAL" clId="{C2192E32-0381-4FF3-BA12-78A7CFD0B5F7}" dt="2023-06-30T12:34:00.056" v="4278" actId="478"/>
          <ac:picMkLst>
            <pc:docMk/>
            <pc:sldMk cId="3046026148" sldId="651"/>
            <ac:picMk id="22" creationId="{F74AF1D6-4A6A-228F-3496-3F4CD89BD513}"/>
          </ac:picMkLst>
        </pc:picChg>
        <pc:picChg chg="add del">
          <ac:chgData name="Stefan Salome" userId="c8dc8e1a-06b7-4e71-a916-5fc9de161173" providerId="ADAL" clId="{C2192E32-0381-4FF3-BA12-78A7CFD0B5F7}" dt="2023-06-30T12:33:59.051" v="4277" actId="478"/>
          <ac:picMkLst>
            <pc:docMk/>
            <pc:sldMk cId="3046026148" sldId="651"/>
            <ac:picMk id="26" creationId="{274C1147-9FCA-1B10-B19D-46097A27B6FD}"/>
          </ac:picMkLst>
        </pc:picChg>
        <pc:picChg chg="add del">
          <ac:chgData name="Stefan Salome" userId="c8dc8e1a-06b7-4e71-a916-5fc9de161173" providerId="ADAL" clId="{C2192E32-0381-4FF3-BA12-78A7CFD0B5F7}" dt="2023-06-30T12:33:58.535" v="4276" actId="478"/>
          <ac:picMkLst>
            <pc:docMk/>
            <pc:sldMk cId="3046026148" sldId="651"/>
            <ac:picMk id="28" creationId="{F9B44EE6-14CB-31B2-15E8-30991F814BD3}"/>
          </ac:picMkLst>
        </pc:picChg>
        <pc:picChg chg="add del">
          <ac:chgData name="Stefan Salome" userId="c8dc8e1a-06b7-4e71-a916-5fc9de161173" providerId="ADAL" clId="{C2192E32-0381-4FF3-BA12-78A7CFD0B5F7}" dt="2023-06-30T12:33:57.530" v="4275" actId="478"/>
          <ac:picMkLst>
            <pc:docMk/>
            <pc:sldMk cId="3046026148" sldId="651"/>
            <ac:picMk id="30" creationId="{A0CEB8AF-B612-560F-DFBD-1B4EDA776EE5}"/>
          </ac:picMkLst>
        </pc:picChg>
      </pc:sldChg>
      <pc:sldChg chg="modSp mod">
        <pc:chgData name="Stefan Salome" userId="c8dc8e1a-06b7-4e71-a916-5fc9de161173" providerId="ADAL" clId="{C2192E32-0381-4FF3-BA12-78A7CFD0B5F7}" dt="2023-07-07T12:11:17.961" v="6126" actId="20577"/>
        <pc:sldMkLst>
          <pc:docMk/>
          <pc:sldMk cId="4089140567" sldId="653"/>
        </pc:sldMkLst>
        <pc:spChg chg="mod">
          <ac:chgData name="Stefan Salome" userId="c8dc8e1a-06b7-4e71-a916-5fc9de161173" providerId="ADAL" clId="{C2192E32-0381-4FF3-BA12-78A7CFD0B5F7}" dt="2023-07-03T14:51:18.231" v="4405" actId="2711"/>
          <ac:spMkLst>
            <pc:docMk/>
            <pc:sldMk cId="4089140567" sldId="653"/>
            <ac:spMk id="4" creationId="{49EF1491-38AF-46FA-B46A-10987DFC7DA5}"/>
          </ac:spMkLst>
        </pc:spChg>
        <pc:spChg chg="mod">
          <ac:chgData name="Stefan Salome" userId="c8dc8e1a-06b7-4e71-a916-5fc9de161173" providerId="ADAL" clId="{C2192E32-0381-4FF3-BA12-78A7CFD0B5F7}" dt="2023-07-07T12:11:17.961" v="6126" actId="20577"/>
          <ac:spMkLst>
            <pc:docMk/>
            <pc:sldMk cId="4089140567" sldId="653"/>
            <ac:spMk id="7" creationId="{D249895E-6873-348F-04C6-1D938AFCDD10}"/>
          </ac:spMkLst>
        </pc:spChg>
      </pc:sldChg>
      <pc:sldChg chg="addSp delSp modSp mod modAnim">
        <pc:chgData name="Stefan Salome" userId="c8dc8e1a-06b7-4e71-a916-5fc9de161173" providerId="ADAL" clId="{C2192E32-0381-4FF3-BA12-78A7CFD0B5F7}" dt="2023-07-06T08:59:41.050" v="5343"/>
        <pc:sldMkLst>
          <pc:docMk/>
          <pc:sldMk cId="2261267327" sldId="654"/>
        </pc:sldMkLst>
        <pc:spChg chg="mod">
          <ac:chgData name="Stefan Salome" userId="c8dc8e1a-06b7-4e71-a916-5fc9de161173" providerId="ADAL" clId="{C2192E32-0381-4FF3-BA12-78A7CFD0B5F7}" dt="2023-06-30T11:12:40.176" v="3769" actId="1076"/>
          <ac:spMkLst>
            <pc:docMk/>
            <pc:sldMk cId="2261267327" sldId="654"/>
            <ac:spMk id="2" creationId="{56364FC0-F7E8-F4BA-EA5E-96F8F3EF2E56}"/>
          </ac:spMkLst>
        </pc:spChg>
        <pc:spChg chg="add del mod">
          <ac:chgData name="Stefan Salome" userId="c8dc8e1a-06b7-4e71-a916-5fc9de161173" providerId="ADAL" clId="{C2192E32-0381-4FF3-BA12-78A7CFD0B5F7}" dt="2023-07-03T14:52:17.538" v="4422" actId="114"/>
          <ac:spMkLst>
            <pc:docMk/>
            <pc:sldMk cId="2261267327" sldId="654"/>
            <ac:spMk id="4" creationId="{49EF1491-38AF-46FA-B46A-10987DFC7DA5}"/>
          </ac:spMkLst>
        </pc:spChg>
        <pc:spChg chg="mod">
          <ac:chgData name="Stefan Salome" userId="c8dc8e1a-06b7-4e71-a916-5fc9de161173" providerId="ADAL" clId="{C2192E32-0381-4FF3-BA12-78A7CFD0B5F7}" dt="2023-06-30T11:12:43.424" v="3770" actId="14100"/>
          <ac:spMkLst>
            <pc:docMk/>
            <pc:sldMk cId="2261267327" sldId="654"/>
            <ac:spMk id="5" creationId="{8DF76C8D-1CA4-4BEE-E01E-E8D65812771E}"/>
          </ac:spMkLst>
        </pc:spChg>
        <pc:picChg chg="add mod ord">
          <ac:chgData name="Stefan Salome" userId="c8dc8e1a-06b7-4e71-a916-5fc9de161173" providerId="ADAL" clId="{C2192E32-0381-4FF3-BA12-78A7CFD0B5F7}" dt="2023-07-05T13:51:09.916" v="4831" actId="1076"/>
          <ac:picMkLst>
            <pc:docMk/>
            <pc:sldMk cId="2261267327" sldId="654"/>
            <ac:picMk id="3" creationId="{53416F4E-3AAD-356B-7AD7-CF07450B50A1}"/>
          </ac:picMkLst>
        </pc:picChg>
        <pc:picChg chg="del">
          <ac:chgData name="Stefan Salome" userId="c8dc8e1a-06b7-4e71-a916-5fc9de161173" providerId="ADAL" clId="{C2192E32-0381-4FF3-BA12-78A7CFD0B5F7}" dt="2023-06-30T11:12:26.761" v="3763" actId="478"/>
          <ac:picMkLst>
            <pc:docMk/>
            <pc:sldMk cId="2261267327" sldId="654"/>
            <ac:picMk id="3" creationId="{5AB842D1-0978-E3B6-629F-682F4E3358A6}"/>
          </ac:picMkLst>
        </pc:picChg>
        <pc:picChg chg="add del mod ord">
          <ac:chgData name="Stefan Salome" userId="c8dc8e1a-06b7-4e71-a916-5fc9de161173" providerId="ADAL" clId="{C2192E32-0381-4FF3-BA12-78A7CFD0B5F7}" dt="2023-07-05T13:51:04.116" v="4828" actId="478"/>
          <ac:picMkLst>
            <pc:docMk/>
            <pc:sldMk cId="2261267327" sldId="654"/>
            <ac:picMk id="8" creationId="{9E438F3D-03A8-8917-D14B-2A7CEE779EE1}"/>
          </ac:picMkLst>
        </pc:picChg>
      </pc:sldChg>
      <pc:sldChg chg="addSp delSp modSp mod ord">
        <pc:chgData name="Stefan Salome" userId="c8dc8e1a-06b7-4e71-a916-5fc9de161173" providerId="ADAL" clId="{C2192E32-0381-4FF3-BA12-78A7CFD0B5F7}" dt="2023-07-05T13:51:19.338" v="4835" actId="1076"/>
        <pc:sldMkLst>
          <pc:docMk/>
          <pc:sldMk cId="1447801446" sldId="655"/>
        </pc:sldMkLst>
        <pc:spChg chg="mod">
          <ac:chgData name="Stefan Salome" userId="c8dc8e1a-06b7-4e71-a916-5fc9de161173" providerId="ADAL" clId="{C2192E32-0381-4FF3-BA12-78A7CFD0B5F7}" dt="2023-07-03T14:52:02.103" v="4416" actId="114"/>
          <ac:spMkLst>
            <pc:docMk/>
            <pc:sldMk cId="1447801446" sldId="655"/>
            <ac:spMk id="4" creationId="{49EF1491-38AF-46FA-B46A-10987DFC7DA5}"/>
          </ac:spMkLst>
        </pc:spChg>
        <pc:spChg chg="mod">
          <ac:chgData name="Stefan Salome" userId="c8dc8e1a-06b7-4e71-a916-5fc9de161173" providerId="ADAL" clId="{C2192E32-0381-4FF3-BA12-78A7CFD0B5F7}" dt="2023-06-30T11:12:58.960" v="3775" actId="1076"/>
          <ac:spMkLst>
            <pc:docMk/>
            <pc:sldMk cId="1447801446" sldId="655"/>
            <ac:spMk id="5" creationId="{8DF76C8D-1CA4-4BEE-E01E-E8D65812771E}"/>
          </ac:spMkLst>
        </pc:spChg>
        <pc:picChg chg="add del mod ord">
          <ac:chgData name="Stefan Salome" userId="c8dc8e1a-06b7-4e71-a916-5fc9de161173" providerId="ADAL" clId="{C2192E32-0381-4FF3-BA12-78A7CFD0B5F7}" dt="2023-07-05T13:51:13.730" v="4832" actId="478"/>
          <ac:picMkLst>
            <pc:docMk/>
            <pc:sldMk cId="1447801446" sldId="655"/>
            <ac:picMk id="2" creationId="{640FD42B-B327-4480-F2BA-00AECD4E1CAA}"/>
          </ac:picMkLst>
        </pc:picChg>
        <pc:picChg chg="del mod">
          <ac:chgData name="Stefan Salome" userId="c8dc8e1a-06b7-4e71-a916-5fc9de161173" providerId="ADAL" clId="{C2192E32-0381-4FF3-BA12-78A7CFD0B5F7}" dt="2023-06-30T11:12:48.293" v="3771" actId="478"/>
          <ac:picMkLst>
            <pc:docMk/>
            <pc:sldMk cId="1447801446" sldId="655"/>
            <ac:picMk id="3" creationId="{5AB842D1-0978-E3B6-629F-682F4E3358A6}"/>
          </ac:picMkLst>
        </pc:picChg>
        <pc:picChg chg="add mod ord">
          <ac:chgData name="Stefan Salome" userId="c8dc8e1a-06b7-4e71-a916-5fc9de161173" providerId="ADAL" clId="{C2192E32-0381-4FF3-BA12-78A7CFD0B5F7}" dt="2023-07-05T13:51:19.338" v="4835" actId="1076"/>
          <ac:picMkLst>
            <pc:docMk/>
            <pc:sldMk cId="1447801446" sldId="655"/>
            <ac:picMk id="3" creationId="{FEDF8A5A-D0D5-2A43-7969-137D28355D6C}"/>
          </ac:picMkLst>
        </pc:picChg>
      </pc:sldChg>
      <pc:sldChg chg="addSp delSp modSp mod delAnim modAnim">
        <pc:chgData name="Stefan Salome" userId="c8dc8e1a-06b7-4e71-a916-5fc9de161173" providerId="ADAL" clId="{C2192E32-0381-4FF3-BA12-78A7CFD0B5F7}" dt="2023-07-05T13:51:29.051" v="4839" actId="1076"/>
        <pc:sldMkLst>
          <pc:docMk/>
          <pc:sldMk cId="1324221869" sldId="656"/>
        </pc:sldMkLst>
        <pc:spChg chg="mod">
          <ac:chgData name="Stefan Salome" userId="c8dc8e1a-06b7-4e71-a916-5fc9de161173" providerId="ADAL" clId="{C2192E32-0381-4FF3-BA12-78A7CFD0B5F7}" dt="2023-07-03T14:51:27.659" v="4408" actId="2711"/>
          <ac:spMkLst>
            <pc:docMk/>
            <pc:sldMk cId="1324221869" sldId="656"/>
            <ac:spMk id="4" creationId="{49EF1491-38AF-46FA-B46A-10987DFC7DA5}"/>
          </ac:spMkLst>
        </pc:spChg>
        <pc:spChg chg="mod">
          <ac:chgData name="Stefan Salome" userId="c8dc8e1a-06b7-4e71-a916-5fc9de161173" providerId="ADAL" clId="{C2192E32-0381-4FF3-BA12-78A7CFD0B5F7}" dt="2023-06-30T11:13:16.849" v="3781" actId="1076"/>
          <ac:spMkLst>
            <pc:docMk/>
            <pc:sldMk cId="1324221869" sldId="656"/>
            <ac:spMk id="5" creationId="{8DF76C8D-1CA4-4BEE-E01E-E8D65812771E}"/>
          </ac:spMkLst>
        </pc:spChg>
        <pc:picChg chg="add del mod ord">
          <ac:chgData name="Stefan Salome" userId="c8dc8e1a-06b7-4e71-a916-5fc9de161173" providerId="ADAL" clId="{C2192E32-0381-4FF3-BA12-78A7CFD0B5F7}" dt="2023-07-05T13:51:23.549" v="4836" actId="478"/>
          <ac:picMkLst>
            <pc:docMk/>
            <pc:sldMk cId="1324221869" sldId="656"/>
            <ac:picMk id="2" creationId="{2FD51988-2679-F16B-BCC2-CBF556E61299}"/>
          </ac:picMkLst>
        </pc:picChg>
        <pc:picChg chg="del">
          <ac:chgData name="Stefan Salome" userId="c8dc8e1a-06b7-4e71-a916-5fc9de161173" providerId="ADAL" clId="{C2192E32-0381-4FF3-BA12-78A7CFD0B5F7}" dt="2023-06-30T11:13:03.934" v="3776" actId="478"/>
          <ac:picMkLst>
            <pc:docMk/>
            <pc:sldMk cId="1324221869" sldId="656"/>
            <ac:picMk id="3" creationId="{5AB842D1-0978-E3B6-629F-682F4E3358A6}"/>
          </ac:picMkLst>
        </pc:picChg>
        <pc:picChg chg="add mod ord">
          <ac:chgData name="Stefan Salome" userId="c8dc8e1a-06b7-4e71-a916-5fc9de161173" providerId="ADAL" clId="{C2192E32-0381-4FF3-BA12-78A7CFD0B5F7}" dt="2023-07-05T13:51:29.051" v="4839" actId="1076"/>
          <ac:picMkLst>
            <pc:docMk/>
            <pc:sldMk cId="1324221869" sldId="656"/>
            <ac:picMk id="3" creationId="{D969EFD7-3BE2-4169-1606-B51A88182BE7}"/>
          </ac:picMkLst>
        </pc:picChg>
        <pc:picChg chg="add del mod">
          <ac:chgData name="Stefan Salome" userId="c8dc8e1a-06b7-4e71-a916-5fc9de161173" providerId="ADAL" clId="{C2192E32-0381-4FF3-BA12-78A7CFD0B5F7}" dt="2023-06-30T12:57:08.133" v="4353" actId="21"/>
          <ac:picMkLst>
            <pc:docMk/>
            <pc:sldMk cId="1324221869" sldId="656"/>
            <ac:picMk id="8" creationId="{3F1B860C-C6CE-94F6-EF9B-C029E7DFF5CD}"/>
          </ac:picMkLst>
        </pc:picChg>
      </pc:sldChg>
      <pc:sldChg chg="delSp del mod delAnim">
        <pc:chgData name="Stefan Salome" userId="c8dc8e1a-06b7-4e71-a916-5fc9de161173" providerId="ADAL" clId="{C2192E32-0381-4FF3-BA12-78A7CFD0B5F7}" dt="2023-06-30T08:02:41.229" v="1828" actId="47"/>
        <pc:sldMkLst>
          <pc:docMk/>
          <pc:sldMk cId="3442461602" sldId="657"/>
        </pc:sldMkLst>
        <pc:picChg chg="del">
          <ac:chgData name="Stefan Salome" userId="c8dc8e1a-06b7-4e71-a916-5fc9de161173" providerId="ADAL" clId="{C2192E32-0381-4FF3-BA12-78A7CFD0B5F7}" dt="2023-06-30T08:02:37.717" v="1827" actId="478"/>
          <ac:picMkLst>
            <pc:docMk/>
            <pc:sldMk cId="3442461602" sldId="657"/>
            <ac:picMk id="6" creationId="{589B4A30-8B79-2D50-FC62-B4F280BE735C}"/>
          </ac:picMkLst>
        </pc:picChg>
      </pc:sldChg>
      <pc:sldChg chg="del">
        <pc:chgData name="Stefan Salome" userId="c8dc8e1a-06b7-4e71-a916-5fc9de161173" providerId="ADAL" clId="{C2192E32-0381-4FF3-BA12-78A7CFD0B5F7}" dt="2023-06-30T08:04:46.714" v="1832" actId="47"/>
        <pc:sldMkLst>
          <pc:docMk/>
          <pc:sldMk cId="611069443" sldId="658"/>
        </pc:sldMkLst>
      </pc:sldChg>
      <pc:sldChg chg="modSp del mod">
        <pc:chgData name="Stefan Salome" userId="c8dc8e1a-06b7-4e71-a916-5fc9de161173" providerId="ADAL" clId="{C2192E32-0381-4FF3-BA12-78A7CFD0B5F7}" dt="2023-07-07T12:19:12.464" v="6130" actId="47"/>
        <pc:sldMkLst>
          <pc:docMk/>
          <pc:sldMk cId="3987083217" sldId="659"/>
        </pc:sldMkLst>
        <pc:spChg chg="mod">
          <ac:chgData name="Stefan Salome" userId="c8dc8e1a-06b7-4e71-a916-5fc9de161173" providerId="ADAL" clId="{C2192E32-0381-4FF3-BA12-78A7CFD0B5F7}" dt="2023-07-03T14:50:38.891" v="4401" actId="2711"/>
          <ac:spMkLst>
            <pc:docMk/>
            <pc:sldMk cId="3987083217" sldId="659"/>
            <ac:spMk id="4" creationId="{49EF1491-38AF-46FA-B46A-10987DFC7DA5}"/>
          </ac:spMkLst>
        </pc:spChg>
        <pc:spChg chg="mod">
          <ac:chgData name="Stefan Salome" userId="c8dc8e1a-06b7-4e71-a916-5fc9de161173" providerId="ADAL" clId="{C2192E32-0381-4FF3-BA12-78A7CFD0B5F7}" dt="2023-07-05T15:12:51.371" v="4922" actId="20577"/>
          <ac:spMkLst>
            <pc:docMk/>
            <pc:sldMk cId="3987083217" sldId="659"/>
            <ac:spMk id="7" creationId="{D249895E-6873-348F-04C6-1D938AFCDD10}"/>
          </ac:spMkLst>
        </pc:spChg>
      </pc:sldChg>
      <pc:sldChg chg="addSp delSp modSp add mod ord">
        <pc:chgData name="Stefan Salome" userId="c8dc8e1a-06b7-4e71-a916-5fc9de161173" providerId="ADAL" clId="{C2192E32-0381-4FF3-BA12-78A7CFD0B5F7}" dt="2023-07-07T12:19:20.172" v="6132"/>
        <pc:sldMkLst>
          <pc:docMk/>
          <pc:sldMk cId="1224268541" sldId="660"/>
        </pc:sldMkLst>
        <pc:spChg chg="mod">
          <ac:chgData name="Stefan Salome" userId="c8dc8e1a-06b7-4e71-a916-5fc9de161173" providerId="ADAL" clId="{C2192E32-0381-4FF3-BA12-78A7CFD0B5F7}" dt="2023-06-30T11:13:43.953" v="3810" actId="20577"/>
          <ac:spMkLst>
            <pc:docMk/>
            <pc:sldMk cId="1224268541" sldId="660"/>
            <ac:spMk id="9" creationId="{6AB44400-CF50-A717-000E-BC8605668626}"/>
          </ac:spMkLst>
        </pc:spChg>
        <pc:picChg chg="add mod">
          <ac:chgData name="Stefan Salome" userId="c8dc8e1a-06b7-4e71-a916-5fc9de161173" providerId="ADAL" clId="{C2192E32-0381-4FF3-BA12-78A7CFD0B5F7}" dt="2023-06-30T11:17:54.336" v="3814" actId="1076"/>
          <ac:picMkLst>
            <pc:docMk/>
            <pc:sldMk cId="1224268541" sldId="660"/>
            <ac:picMk id="2" creationId="{78501A6E-6533-411E-38BF-4BCF3CFF7A66}"/>
          </ac:picMkLst>
        </pc:picChg>
        <pc:picChg chg="del">
          <ac:chgData name="Stefan Salome" userId="c8dc8e1a-06b7-4e71-a916-5fc9de161173" providerId="ADAL" clId="{C2192E32-0381-4FF3-BA12-78A7CFD0B5F7}" dt="2023-06-30T11:11:56.594" v="3762" actId="478"/>
          <ac:picMkLst>
            <pc:docMk/>
            <pc:sldMk cId="1224268541" sldId="660"/>
            <ac:picMk id="10" creationId="{1523073A-F104-DC7E-EE47-949D2606F37D}"/>
          </ac:picMkLst>
        </pc:picChg>
      </pc:sldChg>
      <pc:sldChg chg="del">
        <pc:chgData name="Stefan Salome" userId="c8dc8e1a-06b7-4e71-a916-5fc9de161173" providerId="ADAL" clId="{C2192E32-0381-4FF3-BA12-78A7CFD0B5F7}" dt="2023-06-30T08:02:42.534" v="1829" actId="47"/>
        <pc:sldMkLst>
          <pc:docMk/>
          <pc:sldMk cId="1871061515" sldId="660"/>
        </pc:sldMkLst>
      </pc:sldChg>
      <pc:sldChg chg="addSp delSp modSp new del mod ord">
        <pc:chgData name="Stefan Salome" userId="c8dc8e1a-06b7-4e71-a916-5fc9de161173" providerId="ADAL" clId="{C2192E32-0381-4FF3-BA12-78A7CFD0B5F7}" dt="2023-06-30T08:40:27.771" v="2203" actId="47"/>
        <pc:sldMkLst>
          <pc:docMk/>
          <pc:sldMk cId="2103238536" sldId="660"/>
        </pc:sldMkLst>
        <pc:picChg chg="add del mod">
          <ac:chgData name="Stefan Salome" userId="c8dc8e1a-06b7-4e71-a916-5fc9de161173" providerId="ADAL" clId="{C2192E32-0381-4FF3-BA12-78A7CFD0B5F7}" dt="2023-06-30T08:38:44.919" v="2198" actId="478"/>
          <ac:picMkLst>
            <pc:docMk/>
            <pc:sldMk cId="2103238536" sldId="660"/>
            <ac:picMk id="2" creationId="{C2DA1718-41BD-5952-286B-7708CAD1D3C1}"/>
          </ac:picMkLst>
        </pc:picChg>
      </pc:sldChg>
      <pc:sldChg chg="addSp delSp modSp add del mod">
        <pc:chgData name="Stefan Salome" userId="c8dc8e1a-06b7-4e71-a916-5fc9de161173" providerId="ADAL" clId="{C2192E32-0381-4FF3-BA12-78A7CFD0B5F7}" dt="2023-06-30T08:08:51.543" v="1867" actId="47"/>
        <pc:sldMkLst>
          <pc:docMk/>
          <pc:sldMk cId="4006700515" sldId="660"/>
        </pc:sldMkLst>
        <pc:spChg chg="del">
          <ac:chgData name="Stefan Salome" userId="c8dc8e1a-06b7-4e71-a916-5fc9de161173" providerId="ADAL" clId="{C2192E32-0381-4FF3-BA12-78A7CFD0B5F7}" dt="2023-06-30T08:08:28.429" v="1861" actId="478"/>
          <ac:spMkLst>
            <pc:docMk/>
            <pc:sldMk cId="4006700515" sldId="660"/>
            <ac:spMk id="2" creationId="{E62B743D-3A6A-A6EF-D61E-8DDAF0CE4C3E}"/>
          </ac:spMkLst>
        </pc:spChg>
        <pc:spChg chg="del">
          <ac:chgData name="Stefan Salome" userId="c8dc8e1a-06b7-4e71-a916-5fc9de161173" providerId="ADAL" clId="{C2192E32-0381-4FF3-BA12-78A7CFD0B5F7}" dt="2023-06-30T08:08:32.023" v="1862" actId="478"/>
          <ac:spMkLst>
            <pc:docMk/>
            <pc:sldMk cId="4006700515" sldId="660"/>
            <ac:spMk id="4" creationId="{91C24E91-DF0F-455C-2A2E-105E199909EF}"/>
          </ac:spMkLst>
        </pc:spChg>
        <pc:spChg chg="add del mod">
          <ac:chgData name="Stefan Salome" userId="c8dc8e1a-06b7-4e71-a916-5fc9de161173" providerId="ADAL" clId="{C2192E32-0381-4FF3-BA12-78A7CFD0B5F7}" dt="2023-06-30T08:08:33.938" v="1863" actId="478"/>
          <ac:spMkLst>
            <pc:docMk/>
            <pc:sldMk cId="4006700515" sldId="660"/>
            <ac:spMk id="5" creationId="{85F7370A-DE90-5018-E359-881D44085657}"/>
          </ac:spMkLst>
        </pc:spChg>
      </pc:sldChg>
      <pc:sldChg chg="del">
        <pc:chgData name="Stefan Salome" userId="c8dc8e1a-06b7-4e71-a916-5fc9de161173" providerId="ADAL" clId="{C2192E32-0381-4FF3-BA12-78A7CFD0B5F7}" dt="2023-06-30T08:04:47.144" v="1833" actId="47"/>
        <pc:sldMkLst>
          <pc:docMk/>
          <pc:sldMk cId="181654669" sldId="661"/>
        </pc:sldMkLst>
      </pc:sldChg>
      <pc:sldChg chg="delSp add del mod ord delAnim">
        <pc:chgData name="Stefan Salome" userId="c8dc8e1a-06b7-4e71-a916-5fc9de161173" providerId="ADAL" clId="{C2192E32-0381-4FF3-BA12-78A7CFD0B5F7}" dt="2023-06-30T08:09:04.523" v="1877" actId="47"/>
        <pc:sldMkLst>
          <pc:docMk/>
          <pc:sldMk cId="439841311" sldId="661"/>
        </pc:sldMkLst>
        <pc:picChg chg="del">
          <ac:chgData name="Stefan Salome" userId="c8dc8e1a-06b7-4e71-a916-5fc9de161173" providerId="ADAL" clId="{C2192E32-0381-4FF3-BA12-78A7CFD0B5F7}" dt="2023-06-30T08:09:01.797" v="1876" actId="478"/>
          <ac:picMkLst>
            <pc:docMk/>
            <pc:sldMk cId="439841311" sldId="661"/>
            <ac:picMk id="8" creationId="{90BAF0A4-5ABA-9944-C557-D5B0325F39E8}"/>
          </ac:picMkLst>
        </pc:picChg>
        <pc:picChg chg="del">
          <ac:chgData name="Stefan Salome" userId="c8dc8e1a-06b7-4e71-a916-5fc9de161173" providerId="ADAL" clId="{C2192E32-0381-4FF3-BA12-78A7CFD0B5F7}" dt="2023-06-30T08:08:59.730" v="1873" actId="478"/>
          <ac:picMkLst>
            <pc:docMk/>
            <pc:sldMk cId="439841311" sldId="661"/>
            <ac:picMk id="14" creationId="{D1CC2082-F6B6-3EF4-4291-3D83109F508A}"/>
          </ac:picMkLst>
        </pc:picChg>
        <pc:picChg chg="del">
          <ac:chgData name="Stefan Salome" userId="c8dc8e1a-06b7-4e71-a916-5fc9de161173" providerId="ADAL" clId="{C2192E32-0381-4FF3-BA12-78A7CFD0B5F7}" dt="2023-06-30T08:09:00.990" v="1875" actId="478"/>
          <ac:picMkLst>
            <pc:docMk/>
            <pc:sldMk cId="439841311" sldId="661"/>
            <ac:picMk id="16" creationId="{3897D893-7F9C-516D-4CE3-5D2A864099E0}"/>
          </ac:picMkLst>
        </pc:picChg>
        <pc:picChg chg="del">
          <ac:chgData name="Stefan Salome" userId="c8dc8e1a-06b7-4e71-a916-5fc9de161173" providerId="ADAL" clId="{C2192E32-0381-4FF3-BA12-78A7CFD0B5F7}" dt="2023-06-30T08:09:00.213" v="1874" actId="478"/>
          <ac:picMkLst>
            <pc:docMk/>
            <pc:sldMk cId="439841311" sldId="661"/>
            <ac:picMk id="18" creationId="{63A26604-AB1D-E585-BD7B-1C29F123E08B}"/>
          </ac:picMkLst>
        </pc:picChg>
        <pc:picChg chg="del">
          <ac:chgData name="Stefan Salome" userId="c8dc8e1a-06b7-4e71-a916-5fc9de161173" providerId="ADAL" clId="{C2192E32-0381-4FF3-BA12-78A7CFD0B5F7}" dt="2023-06-30T08:08:58.783" v="1872" actId="478"/>
          <ac:picMkLst>
            <pc:docMk/>
            <pc:sldMk cId="439841311" sldId="661"/>
            <ac:picMk id="20" creationId="{DCC954A7-06B5-0259-A40F-D08F6BD02C4C}"/>
          </ac:picMkLst>
        </pc:picChg>
        <pc:picChg chg="del">
          <ac:chgData name="Stefan Salome" userId="c8dc8e1a-06b7-4e71-a916-5fc9de161173" providerId="ADAL" clId="{C2192E32-0381-4FF3-BA12-78A7CFD0B5F7}" dt="2023-06-30T08:08:58.273" v="1871" actId="478"/>
          <ac:picMkLst>
            <pc:docMk/>
            <pc:sldMk cId="439841311" sldId="661"/>
            <ac:picMk id="22" creationId="{F74AF1D6-4A6A-228F-3496-3F4CD89BD513}"/>
          </ac:picMkLst>
        </pc:picChg>
        <pc:picChg chg="del">
          <ac:chgData name="Stefan Salome" userId="c8dc8e1a-06b7-4e71-a916-5fc9de161173" providerId="ADAL" clId="{C2192E32-0381-4FF3-BA12-78A7CFD0B5F7}" dt="2023-06-30T08:08:57.008" v="1870" actId="478"/>
          <ac:picMkLst>
            <pc:docMk/>
            <pc:sldMk cId="439841311" sldId="661"/>
            <ac:picMk id="26" creationId="{274C1147-9FCA-1B10-B19D-46097A27B6FD}"/>
          </ac:picMkLst>
        </pc:picChg>
        <pc:picChg chg="del">
          <ac:chgData name="Stefan Salome" userId="c8dc8e1a-06b7-4e71-a916-5fc9de161173" providerId="ADAL" clId="{C2192E32-0381-4FF3-BA12-78A7CFD0B5F7}" dt="2023-06-30T08:08:56.550" v="1869" actId="478"/>
          <ac:picMkLst>
            <pc:docMk/>
            <pc:sldMk cId="439841311" sldId="661"/>
            <ac:picMk id="28" creationId="{F9B44EE6-14CB-31B2-15E8-30991F814BD3}"/>
          </ac:picMkLst>
        </pc:picChg>
        <pc:picChg chg="del">
          <ac:chgData name="Stefan Salome" userId="c8dc8e1a-06b7-4e71-a916-5fc9de161173" providerId="ADAL" clId="{C2192E32-0381-4FF3-BA12-78A7CFD0B5F7}" dt="2023-06-30T08:08:54.337" v="1868" actId="478"/>
          <ac:picMkLst>
            <pc:docMk/>
            <pc:sldMk cId="439841311" sldId="661"/>
            <ac:picMk id="30" creationId="{A0CEB8AF-B612-560F-DFBD-1B4EDA776EE5}"/>
          </ac:picMkLst>
        </pc:picChg>
      </pc:sldChg>
      <pc:sldChg chg="addSp delSp modSp add mod ord delAnim modAnim">
        <pc:chgData name="Stefan Salome" userId="c8dc8e1a-06b7-4e71-a916-5fc9de161173" providerId="ADAL" clId="{C2192E32-0381-4FF3-BA12-78A7CFD0B5F7}" dt="2023-07-05T13:51:44.586" v="4844" actId="1076"/>
        <pc:sldMkLst>
          <pc:docMk/>
          <pc:sldMk cId="2991695527" sldId="661"/>
        </pc:sldMkLst>
        <pc:spChg chg="add mod">
          <ac:chgData name="Stefan Salome" userId="c8dc8e1a-06b7-4e71-a916-5fc9de161173" providerId="ADAL" clId="{C2192E32-0381-4FF3-BA12-78A7CFD0B5F7}" dt="2023-06-30T11:40:16.249" v="3829" actId="1076"/>
          <ac:spMkLst>
            <pc:docMk/>
            <pc:sldMk cId="2991695527" sldId="661"/>
            <ac:spMk id="3" creationId="{FD30CCDC-CBBB-F285-D48F-5CFF649BC141}"/>
          </ac:spMkLst>
        </pc:spChg>
        <pc:spChg chg="mod">
          <ac:chgData name="Stefan Salome" userId="c8dc8e1a-06b7-4e71-a916-5fc9de161173" providerId="ADAL" clId="{C2192E32-0381-4FF3-BA12-78A7CFD0B5F7}" dt="2023-07-03T14:50:51.601" v="4403" actId="114"/>
          <ac:spMkLst>
            <pc:docMk/>
            <pc:sldMk cId="2991695527" sldId="661"/>
            <ac:spMk id="4" creationId="{49EF1491-38AF-46FA-B46A-10987DFC7DA5}"/>
          </ac:spMkLst>
        </pc:spChg>
        <pc:spChg chg="del">
          <ac:chgData name="Stefan Salome" userId="c8dc8e1a-06b7-4e71-a916-5fc9de161173" providerId="ADAL" clId="{C2192E32-0381-4FF3-BA12-78A7CFD0B5F7}" dt="2023-06-30T11:39:24.620" v="3818" actId="478"/>
          <ac:spMkLst>
            <pc:docMk/>
            <pc:sldMk cId="2991695527" sldId="661"/>
            <ac:spMk id="5" creationId="{8DF76C8D-1CA4-4BEE-E01E-E8D65812771E}"/>
          </ac:spMkLst>
        </pc:spChg>
        <pc:spChg chg="add mod">
          <ac:chgData name="Stefan Salome" userId="c8dc8e1a-06b7-4e71-a916-5fc9de161173" providerId="ADAL" clId="{C2192E32-0381-4FF3-BA12-78A7CFD0B5F7}" dt="2023-06-30T11:40:55.576" v="3837" actId="688"/>
          <ac:spMkLst>
            <pc:docMk/>
            <pc:sldMk cId="2991695527" sldId="661"/>
            <ac:spMk id="8" creationId="{2E8CFDBC-8F0D-7032-BF1D-247DE014F7A9}"/>
          </ac:spMkLst>
        </pc:spChg>
        <pc:spChg chg="add mod">
          <ac:chgData name="Stefan Salome" userId="c8dc8e1a-06b7-4e71-a916-5fc9de161173" providerId="ADAL" clId="{C2192E32-0381-4FF3-BA12-78A7CFD0B5F7}" dt="2023-06-30T11:41:06.760" v="3841" actId="1076"/>
          <ac:spMkLst>
            <pc:docMk/>
            <pc:sldMk cId="2991695527" sldId="661"/>
            <ac:spMk id="9" creationId="{77AD63CB-BEF7-3858-936B-8F2644C533FF}"/>
          </ac:spMkLst>
        </pc:spChg>
        <pc:picChg chg="del mod">
          <ac:chgData name="Stefan Salome" userId="c8dc8e1a-06b7-4e71-a916-5fc9de161173" providerId="ADAL" clId="{C2192E32-0381-4FF3-BA12-78A7CFD0B5F7}" dt="2023-07-05T13:51:34.535" v="4840" actId="478"/>
          <ac:picMkLst>
            <pc:docMk/>
            <pc:sldMk cId="2991695527" sldId="661"/>
            <ac:picMk id="2" creationId="{2FD51988-2679-F16B-BCC2-CBF556E61299}"/>
          </ac:picMkLst>
        </pc:picChg>
        <pc:picChg chg="add mod ord">
          <ac:chgData name="Stefan Salome" userId="c8dc8e1a-06b7-4e71-a916-5fc9de161173" providerId="ADAL" clId="{C2192E32-0381-4FF3-BA12-78A7CFD0B5F7}" dt="2023-07-05T13:51:44.586" v="4844" actId="1076"/>
          <ac:picMkLst>
            <pc:docMk/>
            <pc:sldMk cId="2991695527" sldId="661"/>
            <ac:picMk id="5" creationId="{C8207ECA-9EAF-02CE-C337-872CFC115763}"/>
          </ac:picMkLst>
        </pc:picChg>
      </pc:sldChg>
      <pc:sldChg chg="del">
        <pc:chgData name="Stefan Salome" userId="c8dc8e1a-06b7-4e71-a916-5fc9de161173" providerId="ADAL" clId="{C2192E32-0381-4FF3-BA12-78A7CFD0B5F7}" dt="2023-06-30T08:04:47.613" v="1834" actId="47"/>
        <pc:sldMkLst>
          <pc:docMk/>
          <pc:sldMk cId="1050409959" sldId="662"/>
        </pc:sldMkLst>
      </pc:sldChg>
      <pc:sldChg chg="modSp add mod ord delCm modCm modNotesTx">
        <pc:chgData name="Stefan Salome" userId="c8dc8e1a-06b7-4e71-a916-5fc9de161173" providerId="ADAL" clId="{C2192E32-0381-4FF3-BA12-78A7CFD0B5F7}" dt="2023-07-05T12:47:52.172" v="4715" actId="20577"/>
        <pc:sldMkLst>
          <pc:docMk/>
          <pc:sldMk cId="2160969410" sldId="662"/>
        </pc:sldMkLst>
        <pc:spChg chg="mod">
          <ac:chgData name="Stefan Salome" userId="c8dc8e1a-06b7-4e71-a916-5fc9de161173" providerId="ADAL" clId="{C2192E32-0381-4FF3-BA12-78A7CFD0B5F7}" dt="2023-07-03T14:49:26.100" v="4394" actId="2711"/>
          <ac:spMkLst>
            <pc:docMk/>
            <pc:sldMk cId="2160969410" sldId="662"/>
            <ac:spMk id="3" creationId="{CB5AB11B-1C97-4328-BB6C-C7B7DBC93484}"/>
          </ac:spMkLst>
        </pc:spChg>
        <pc:spChg chg="mod">
          <ac:chgData name="Stefan Salome" userId="c8dc8e1a-06b7-4e71-a916-5fc9de161173" providerId="ADAL" clId="{C2192E32-0381-4FF3-BA12-78A7CFD0B5F7}" dt="2023-07-05T12:47:52.172" v="4715" actId="20577"/>
          <ac:spMkLst>
            <pc:docMk/>
            <pc:sldMk cId="2160969410" sldId="662"/>
            <ac:spMk id="4" creationId="{56276F1A-519F-49B0-A512-A358A1F74DB3}"/>
          </ac:spMkLst>
        </pc:spChg>
        <pc:extLst>
          <p:ext xmlns:p="http://schemas.openxmlformats.org/presentationml/2006/main" uri="{D6D511B9-2390-475A-947B-AFAB55BFBCF1}">
            <pc226:cmChg xmlns:pc226="http://schemas.microsoft.com/office/powerpoint/2022/06/main/command" chg="del mod">
              <pc226:chgData name="Stefan Salome" userId="c8dc8e1a-06b7-4e71-a916-5fc9de161173" providerId="ADAL" clId="{C2192E32-0381-4FF3-BA12-78A7CFD0B5F7}" dt="2023-07-03T14:49:36.023" v="4396"/>
              <pc2:cmMkLst xmlns:pc2="http://schemas.microsoft.com/office/powerpoint/2019/9/main/command">
                <pc:docMk/>
                <pc:sldMk cId="2160969410" sldId="662"/>
                <pc2:cmMk id="{54FC02B4-64BD-46A5-B02F-B86861CE8E30}"/>
              </pc2:cmMkLst>
            </pc226:cmChg>
          </p:ext>
        </pc:extLst>
      </pc:sldChg>
      <pc:sldChg chg="modSp add del mod">
        <pc:chgData name="Stefan Salome" userId="c8dc8e1a-06b7-4e71-a916-5fc9de161173" providerId="ADAL" clId="{C2192E32-0381-4FF3-BA12-78A7CFD0B5F7}" dt="2023-06-30T12:59:46.777" v="4369" actId="47"/>
        <pc:sldMkLst>
          <pc:docMk/>
          <pc:sldMk cId="791073010" sldId="663"/>
        </pc:sldMkLst>
        <pc:picChg chg="mod">
          <ac:chgData name="Stefan Salome" userId="c8dc8e1a-06b7-4e71-a916-5fc9de161173" providerId="ADAL" clId="{C2192E32-0381-4FF3-BA12-78A7CFD0B5F7}" dt="2023-06-30T12:53:41.607" v="4334" actId="1076"/>
          <ac:picMkLst>
            <pc:docMk/>
            <pc:sldMk cId="791073010" sldId="663"/>
            <ac:picMk id="20" creationId="{DCC954A7-06B5-0259-A40F-D08F6BD02C4C}"/>
          </ac:picMkLst>
        </pc:picChg>
        <pc:picChg chg="mod">
          <ac:chgData name="Stefan Salome" userId="c8dc8e1a-06b7-4e71-a916-5fc9de161173" providerId="ADAL" clId="{C2192E32-0381-4FF3-BA12-78A7CFD0B5F7}" dt="2023-06-30T12:53:41.232" v="4333" actId="1076"/>
          <ac:picMkLst>
            <pc:docMk/>
            <pc:sldMk cId="791073010" sldId="663"/>
            <ac:picMk id="28" creationId="{F9B44EE6-14CB-31B2-15E8-30991F814BD3}"/>
          </ac:picMkLst>
        </pc:picChg>
      </pc:sldChg>
      <pc:sldChg chg="del">
        <pc:chgData name="Stefan Salome" userId="c8dc8e1a-06b7-4e71-a916-5fc9de161173" providerId="ADAL" clId="{C2192E32-0381-4FF3-BA12-78A7CFD0B5F7}" dt="2023-06-30T08:04:48.089" v="1835" actId="47"/>
        <pc:sldMkLst>
          <pc:docMk/>
          <pc:sldMk cId="2193701982" sldId="666"/>
        </pc:sldMkLst>
      </pc:sldChg>
      <pc:sldChg chg="del">
        <pc:chgData name="Stefan Salome" userId="c8dc8e1a-06b7-4e71-a916-5fc9de161173" providerId="ADAL" clId="{C2192E32-0381-4FF3-BA12-78A7CFD0B5F7}" dt="2023-06-30T08:04:48.810" v="1836" actId="47"/>
        <pc:sldMkLst>
          <pc:docMk/>
          <pc:sldMk cId="3110589085" sldId="668"/>
        </pc:sldMkLst>
      </pc:sldChg>
      <pc:sldChg chg="del">
        <pc:chgData name="Stefan Salome" userId="c8dc8e1a-06b7-4e71-a916-5fc9de161173" providerId="ADAL" clId="{C2192E32-0381-4FF3-BA12-78A7CFD0B5F7}" dt="2023-06-30T08:04:42.126" v="1830" actId="47"/>
        <pc:sldMkLst>
          <pc:docMk/>
          <pc:sldMk cId="76446805" sldId="669"/>
        </pc:sldMkLst>
      </pc:sldChg>
      <pc:sldChg chg="new del">
        <pc:chgData name="Stefan Salome" userId="c8dc8e1a-06b7-4e71-a916-5fc9de161173" providerId="ADAL" clId="{C2192E32-0381-4FF3-BA12-78A7CFD0B5F7}" dt="2023-06-29T13:41:42.941" v="950" actId="47"/>
        <pc:sldMkLst>
          <pc:docMk/>
          <pc:sldMk cId="840135720" sldId="670"/>
        </pc:sldMkLst>
      </pc:sldChg>
      <pc:sldChg chg="new del">
        <pc:chgData name="Stefan Salome" userId="c8dc8e1a-06b7-4e71-a916-5fc9de161173" providerId="ADAL" clId="{C2192E32-0381-4FF3-BA12-78A7CFD0B5F7}" dt="2023-06-29T11:50:13.179" v="27" actId="47"/>
        <pc:sldMkLst>
          <pc:docMk/>
          <pc:sldMk cId="1153776572" sldId="670"/>
        </pc:sldMkLst>
      </pc:sldChg>
      <pc:sldChg chg="modSp add del mod ord">
        <pc:chgData name="Stefan Salome" userId="c8dc8e1a-06b7-4e71-a916-5fc9de161173" providerId="ADAL" clId="{C2192E32-0381-4FF3-BA12-78A7CFD0B5F7}" dt="2023-06-29T12:56:25.656" v="836" actId="47"/>
        <pc:sldMkLst>
          <pc:docMk/>
          <pc:sldMk cId="3302354105" sldId="670"/>
        </pc:sldMkLst>
        <pc:spChg chg="mod">
          <ac:chgData name="Stefan Salome" userId="c8dc8e1a-06b7-4e71-a916-5fc9de161173" providerId="ADAL" clId="{C2192E32-0381-4FF3-BA12-78A7CFD0B5F7}" dt="2023-06-29T11:51:46.800" v="70" actId="20577"/>
          <ac:spMkLst>
            <pc:docMk/>
            <pc:sldMk cId="3302354105" sldId="670"/>
            <ac:spMk id="4" creationId="{49EF1491-38AF-46FA-B46A-10987DFC7DA5}"/>
          </ac:spMkLst>
        </pc:spChg>
        <pc:spChg chg="mod">
          <ac:chgData name="Stefan Salome" userId="c8dc8e1a-06b7-4e71-a916-5fc9de161173" providerId="ADAL" clId="{C2192E32-0381-4FF3-BA12-78A7CFD0B5F7}" dt="2023-06-29T12:56:23.690" v="835" actId="6549"/>
          <ac:spMkLst>
            <pc:docMk/>
            <pc:sldMk cId="3302354105" sldId="670"/>
            <ac:spMk id="7" creationId="{56C0CA39-5A82-C711-A2D9-5A1A77747630}"/>
          </ac:spMkLst>
        </pc:spChg>
      </pc:sldChg>
      <pc:sldChg chg="modSp add del mod">
        <pc:chgData name="Stefan Salome" userId="c8dc8e1a-06b7-4e71-a916-5fc9de161173" providerId="ADAL" clId="{C2192E32-0381-4FF3-BA12-78A7CFD0B5F7}" dt="2023-06-30T07:39:58.065" v="1804" actId="47"/>
        <pc:sldMkLst>
          <pc:docMk/>
          <pc:sldMk cId="1532147995" sldId="671"/>
        </pc:sldMkLst>
        <pc:spChg chg="mod">
          <ac:chgData name="Stefan Salome" userId="c8dc8e1a-06b7-4e71-a916-5fc9de161173" providerId="ADAL" clId="{C2192E32-0381-4FF3-BA12-78A7CFD0B5F7}" dt="2023-06-30T07:12:44.150" v="1015" actId="6549"/>
          <ac:spMkLst>
            <pc:docMk/>
            <pc:sldMk cId="1532147995" sldId="671"/>
            <ac:spMk id="4" creationId="{B608CAA9-2066-5446-BC6B-C6A82A92999A}"/>
          </ac:spMkLst>
        </pc:spChg>
      </pc:sldChg>
      <pc:sldChg chg="modSp mod modNotesTx">
        <pc:chgData name="Stefan Salome" userId="c8dc8e1a-06b7-4e71-a916-5fc9de161173" providerId="ADAL" clId="{C2192E32-0381-4FF3-BA12-78A7CFD0B5F7}" dt="2023-07-05T12:32:12.441" v="4548" actId="207"/>
        <pc:sldMkLst>
          <pc:docMk/>
          <pc:sldMk cId="766697898" sldId="709"/>
        </pc:sldMkLst>
        <pc:spChg chg="mod">
          <ac:chgData name="Stefan Salome" userId="c8dc8e1a-06b7-4e71-a916-5fc9de161173" providerId="ADAL" clId="{C2192E32-0381-4FF3-BA12-78A7CFD0B5F7}" dt="2023-07-05T12:32:12.441" v="4548" actId="207"/>
          <ac:spMkLst>
            <pc:docMk/>
            <pc:sldMk cId="766697898" sldId="709"/>
            <ac:spMk id="3" creationId="{46135FE4-B1A5-544D-8E7C-FF5697EE4165}"/>
          </ac:spMkLst>
        </pc:spChg>
      </pc:sldChg>
      <pc:sldChg chg="addSp delSp modSp mod ord delAnim modAnim">
        <pc:chgData name="Stefan Salome" userId="c8dc8e1a-06b7-4e71-a916-5fc9de161173" providerId="ADAL" clId="{C2192E32-0381-4FF3-BA12-78A7CFD0B5F7}" dt="2023-07-06T07:44:52.611" v="5047" actId="20577"/>
        <pc:sldMkLst>
          <pc:docMk/>
          <pc:sldMk cId="2923476912" sldId="714"/>
        </pc:sldMkLst>
        <pc:spChg chg="mod">
          <ac:chgData name="Stefan Salome" userId="c8dc8e1a-06b7-4e71-a916-5fc9de161173" providerId="ADAL" clId="{C2192E32-0381-4FF3-BA12-78A7CFD0B5F7}" dt="2023-07-06T07:27:52.597" v="5009" actId="1076"/>
          <ac:spMkLst>
            <pc:docMk/>
            <pc:sldMk cId="2923476912" sldId="714"/>
            <ac:spMk id="2" creationId="{86098922-72DE-9748-1DC5-FED7FFD5B0C6}"/>
          </ac:spMkLst>
        </pc:spChg>
        <pc:spChg chg="mod">
          <ac:chgData name="Stefan Salome" userId="c8dc8e1a-06b7-4e71-a916-5fc9de161173" providerId="ADAL" clId="{C2192E32-0381-4FF3-BA12-78A7CFD0B5F7}" dt="2023-07-05T14:19:36.701" v="4905" actId="20577"/>
          <ac:spMkLst>
            <pc:docMk/>
            <pc:sldMk cId="2923476912" sldId="714"/>
            <ac:spMk id="4" creationId="{76CA697A-3C15-CFBF-2611-EF78DC420174}"/>
          </ac:spMkLst>
        </pc:spChg>
        <pc:spChg chg="mod">
          <ac:chgData name="Stefan Salome" userId="c8dc8e1a-06b7-4e71-a916-5fc9de161173" providerId="ADAL" clId="{C2192E32-0381-4FF3-BA12-78A7CFD0B5F7}" dt="2023-07-06T07:27:52.597" v="5009" actId="1076"/>
          <ac:spMkLst>
            <pc:docMk/>
            <pc:sldMk cId="2923476912" sldId="714"/>
            <ac:spMk id="5" creationId="{A8B57F2D-C464-D948-8054-88A7261C118C}"/>
          </ac:spMkLst>
        </pc:spChg>
        <pc:spChg chg="mod">
          <ac:chgData name="Stefan Salome" userId="c8dc8e1a-06b7-4e71-a916-5fc9de161173" providerId="ADAL" clId="{C2192E32-0381-4FF3-BA12-78A7CFD0B5F7}" dt="2023-07-05T12:08:00.825" v="4469" actId="20577"/>
          <ac:spMkLst>
            <pc:docMk/>
            <pc:sldMk cId="2923476912" sldId="714"/>
            <ac:spMk id="8" creationId="{46DAA433-20FD-957E-2481-4FB1A9FA501D}"/>
          </ac:spMkLst>
        </pc:spChg>
        <pc:spChg chg="add mod">
          <ac:chgData name="Stefan Salome" userId="c8dc8e1a-06b7-4e71-a916-5fc9de161173" providerId="ADAL" clId="{C2192E32-0381-4FF3-BA12-78A7CFD0B5F7}" dt="2023-07-06T07:28:23.339" v="5014" actId="1076"/>
          <ac:spMkLst>
            <pc:docMk/>
            <pc:sldMk cId="2923476912" sldId="714"/>
            <ac:spMk id="15" creationId="{E59A9AA7-65E2-903D-3E3E-C5D680C5C37C}"/>
          </ac:spMkLst>
        </pc:spChg>
        <pc:spChg chg="add del mod">
          <ac:chgData name="Stefan Salome" userId="c8dc8e1a-06b7-4e71-a916-5fc9de161173" providerId="ADAL" clId="{C2192E32-0381-4FF3-BA12-78A7CFD0B5F7}" dt="2023-07-05T12:50:39.591" v="4761" actId="478"/>
          <ac:spMkLst>
            <pc:docMk/>
            <pc:sldMk cId="2923476912" sldId="714"/>
            <ac:spMk id="15" creationId="{E5E91CD9-2928-D1FB-F63A-AFEEECA8B032}"/>
          </ac:spMkLst>
        </pc:spChg>
        <pc:spChg chg="mod">
          <ac:chgData name="Stefan Salome" userId="c8dc8e1a-06b7-4e71-a916-5fc9de161173" providerId="ADAL" clId="{C2192E32-0381-4FF3-BA12-78A7CFD0B5F7}" dt="2023-07-06T07:27:52.597" v="5009" actId="1076"/>
          <ac:spMkLst>
            <pc:docMk/>
            <pc:sldMk cId="2923476912" sldId="714"/>
            <ac:spMk id="16" creationId="{1BDFA149-32A8-E71F-60D0-253279FCC9EB}"/>
          </ac:spMkLst>
        </pc:spChg>
        <pc:spChg chg="mod">
          <ac:chgData name="Stefan Salome" userId="c8dc8e1a-06b7-4e71-a916-5fc9de161173" providerId="ADAL" clId="{C2192E32-0381-4FF3-BA12-78A7CFD0B5F7}" dt="2023-07-06T07:27:52.597" v="5009" actId="1076"/>
          <ac:spMkLst>
            <pc:docMk/>
            <pc:sldMk cId="2923476912" sldId="714"/>
            <ac:spMk id="17" creationId="{263E7081-3E02-EDA2-1F44-ED4626A80C53}"/>
          </ac:spMkLst>
        </pc:spChg>
        <pc:spChg chg="add del mod">
          <ac:chgData name="Stefan Salome" userId="c8dc8e1a-06b7-4e71-a916-5fc9de161173" providerId="ADAL" clId="{C2192E32-0381-4FF3-BA12-78A7CFD0B5F7}" dt="2023-07-05T12:40:00.947" v="4692" actId="478"/>
          <ac:spMkLst>
            <pc:docMk/>
            <pc:sldMk cId="2923476912" sldId="714"/>
            <ac:spMk id="25" creationId="{0C3B7171-7D67-A3B5-ACB9-E71943310F42}"/>
          </ac:spMkLst>
        </pc:spChg>
        <pc:spChg chg="add del">
          <ac:chgData name="Stefan Salome" userId="c8dc8e1a-06b7-4e71-a916-5fc9de161173" providerId="ADAL" clId="{C2192E32-0381-4FF3-BA12-78A7CFD0B5F7}" dt="2023-07-05T12:40:10.352" v="4694" actId="11529"/>
          <ac:spMkLst>
            <pc:docMk/>
            <pc:sldMk cId="2923476912" sldId="714"/>
            <ac:spMk id="26" creationId="{6292DDEC-7C6A-3979-9046-300732B5CEF8}"/>
          </ac:spMkLst>
        </pc:spChg>
        <pc:spChg chg="add del mod">
          <ac:chgData name="Stefan Salome" userId="c8dc8e1a-06b7-4e71-a916-5fc9de161173" providerId="ADAL" clId="{C2192E32-0381-4FF3-BA12-78A7CFD0B5F7}" dt="2023-07-05T12:50:42.288" v="4762" actId="478"/>
          <ac:spMkLst>
            <pc:docMk/>
            <pc:sldMk cId="2923476912" sldId="714"/>
            <ac:spMk id="27" creationId="{149A9693-6395-9B4C-7C31-7458E63454EA}"/>
          </ac:spMkLst>
        </pc:spChg>
        <pc:spChg chg="add mod">
          <ac:chgData name="Stefan Salome" userId="c8dc8e1a-06b7-4e71-a916-5fc9de161173" providerId="ADAL" clId="{C2192E32-0381-4FF3-BA12-78A7CFD0B5F7}" dt="2023-07-06T07:27:52.597" v="5009" actId="1076"/>
          <ac:spMkLst>
            <pc:docMk/>
            <pc:sldMk cId="2923476912" sldId="714"/>
            <ac:spMk id="28" creationId="{618BEA30-56DD-AD57-0A1D-A170826508BD}"/>
          </ac:spMkLst>
        </pc:spChg>
        <pc:spChg chg="add mod">
          <ac:chgData name="Stefan Salome" userId="c8dc8e1a-06b7-4e71-a916-5fc9de161173" providerId="ADAL" clId="{C2192E32-0381-4FF3-BA12-78A7CFD0B5F7}" dt="2023-07-06T07:27:52.597" v="5009" actId="1076"/>
          <ac:spMkLst>
            <pc:docMk/>
            <pc:sldMk cId="2923476912" sldId="714"/>
            <ac:spMk id="29" creationId="{112818B7-DD24-B90B-F5FC-22D9BB41813D}"/>
          </ac:spMkLst>
        </pc:spChg>
        <pc:spChg chg="add mod">
          <ac:chgData name="Stefan Salome" userId="c8dc8e1a-06b7-4e71-a916-5fc9de161173" providerId="ADAL" clId="{C2192E32-0381-4FF3-BA12-78A7CFD0B5F7}" dt="2023-07-06T07:44:52.611" v="5047" actId="20577"/>
          <ac:spMkLst>
            <pc:docMk/>
            <pc:sldMk cId="2923476912" sldId="714"/>
            <ac:spMk id="32" creationId="{423A1D7C-FE1C-5E06-E0E4-1A2456A06493}"/>
          </ac:spMkLst>
        </pc:spChg>
        <pc:grpChg chg="mod">
          <ac:chgData name="Stefan Salome" userId="c8dc8e1a-06b7-4e71-a916-5fc9de161173" providerId="ADAL" clId="{C2192E32-0381-4FF3-BA12-78A7CFD0B5F7}" dt="2023-07-06T07:27:52.597" v="5009" actId="1076"/>
          <ac:grpSpMkLst>
            <pc:docMk/>
            <pc:sldMk cId="2923476912" sldId="714"/>
            <ac:grpSpMk id="6" creationId="{8FE6D4CF-E66E-B726-9B85-F2EBD2A43BB8}"/>
          </ac:grpSpMkLst>
        </pc:grpChg>
        <pc:grpChg chg="mod">
          <ac:chgData name="Stefan Salome" userId="c8dc8e1a-06b7-4e71-a916-5fc9de161173" providerId="ADAL" clId="{C2192E32-0381-4FF3-BA12-78A7CFD0B5F7}" dt="2023-07-06T07:27:52.597" v="5009" actId="1076"/>
          <ac:grpSpMkLst>
            <pc:docMk/>
            <pc:sldMk cId="2923476912" sldId="714"/>
            <ac:grpSpMk id="9" creationId="{D2575CF4-9A78-730A-6882-5F344C86FC6B}"/>
          </ac:grpSpMkLst>
        </pc:grpChg>
        <pc:grpChg chg="mod">
          <ac:chgData name="Stefan Salome" userId="c8dc8e1a-06b7-4e71-a916-5fc9de161173" providerId="ADAL" clId="{C2192E32-0381-4FF3-BA12-78A7CFD0B5F7}" dt="2023-07-06T07:27:52.597" v="5009" actId="1076"/>
          <ac:grpSpMkLst>
            <pc:docMk/>
            <pc:sldMk cId="2923476912" sldId="714"/>
            <ac:grpSpMk id="12" creationId="{4E4C88C9-55C4-586F-8A7B-A67FFD79337A}"/>
          </ac:grpSpMkLst>
        </pc:grpChg>
        <pc:grpChg chg="mod">
          <ac:chgData name="Stefan Salome" userId="c8dc8e1a-06b7-4e71-a916-5fc9de161173" providerId="ADAL" clId="{C2192E32-0381-4FF3-BA12-78A7CFD0B5F7}" dt="2023-07-06T07:27:52.597" v="5009" actId="1076"/>
          <ac:grpSpMkLst>
            <pc:docMk/>
            <pc:sldMk cId="2923476912" sldId="714"/>
            <ac:grpSpMk id="18" creationId="{4251088C-94E4-12A6-5E98-761B21B41C32}"/>
          </ac:grpSpMkLst>
        </pc:grpChg>
        <pc:picChg chg="add mod">
          <ac:chgData name="Stefan Salome" userId="c8dc8e1a-06b7-4e71-a916-5fc9de161173" providerId="ADAL" clId="{C2192E32-0381-4FF3-BA12-78A7CFD0B5F7}" dt="2023-07-05T12:36:36.536" v="4651" actId="1076"/>
          <ac:picMkLst>
            <pc:docMk/>
            <pc:sldMk cId="2923476912" sldId="714"/>
            <ac:picMk id="3" creationId="{D644CC08-959A-BE05-A1AD-A7543E653FEF}"/>
          </ac:picMkLst>
        </pc:picChg>
        <pc:picChg chg="add mod">
          <ac:chgData name="Stefan Salome" userId="c8dc8e1a-06b7-4e71-a916-5fc9de161173" providerId="ADAL" clId="{C2192E32-0381-4FF3-BA12-78A7CFD0B5F7}" dt="2023-07-05T12:36:36.536" v="4651" actId="1076"/>
          <ac:picMkLst>
            <pc:docMk/>
            <pc:sldMk cId="2923476912" sldId="714"/>
            <ac:picMk id="21" creationId="{3AB75910-1397-483C-B279-C12DC84D9E58}"/>
          </ac:picMkLst>
        </pc:picChg>
        <pc:picChg chg="add mod">
          <ac:chgData name="Stefan Salome" userId="c8dc8e1a-06b7-4e71-a916-5fc9de161173" providerId="ADAL" clId="{C2192E32-0381-4FF3-BA12-78A7CFD0B5F7}" dt="2023-07-05T12:36:36.536" v="4651" actId="1076"/>
          <ac:picMkLst>
            <pc:docMk/>
            <pc:sldMk cId="2923476912" sldId="714"/>
            <ac:picMk id="22" creationId="{1A036637-0605-359B-66D2-8081DF249652}"/>
          </ac:picMkLst>
        </pc:picChg>
        <pc:picChg chg="add mod">
          <ac:chgData name="Stefan Salome" userId="c8dc8e1a-06b7-4e71-a916-5fc9de161173" providerId="ADAL" clId="{C2192E32-0381-4FF3-BA12-78A7CFD0B5F7}" dt="2023-07-05T12:36:36.536" v="4651" actId="1076"/>
          <ac:picMkLst>
            <pc:docMk/>
            <pc:sldMk cId="2923476912" sldId="714"/>
            <ac:picMk id="23" creationId="{900FF92B-A2CF-280B-FA8F-85DD846BA7B3}"/>
          </ac:picMkLst>
        </pc:picChg>
        <pc:picChg chg="add mod">
          <ac:chgData name="Stefan Salome" userId="c8dc8e1a-06b7-4e71-a916-5fc9de161173" providerId="ADAL" clId="{C2192E32-0381-4FF3-BA12-78A7CFD0B5F7}" dt="2023-07-05T12:36:36.536" v="4651" actId="1076"/>
          <ac:picMkLst>
            <pc:docMk/>
            <pc:sldMk cId="2923476912" sldId="714"/>
            <ac:picMk id="24" creationId="{ECC523BA-BA4A-EF09-AD3F-F6D565B3C4D9}"/>
          </ac:picMkLst>
        </pc:picChg>
        <pc:cxnChg chg="add mod">
          <ac:chgData name="Stefan Salome" userId="c8dc8e1a-06b7-4e71-a916-5fc9de161173" providerId="ADAL" clId="{C2192E32-0381-4FF3-BA12-78A7CFD0B5F7}" dt="2023-07-06T07:28:23.339" v="5014" actId="1076"/>
          <ac:cxnSpMkLst>
            <pc:docMk/>
            <pc:sldMk cId="2923476912" sldId="714"/>
            <ac:cxnSpMk id="26" creationId="{1BDAA33F-2AC3-F2D0-0742-155AC12D92AA}"/>
          </ac:cxnSpMkLst>
        </pc:cxnChg>
        <pc:cxnChg chg="add mod">
          <ac:chgData name="Stefan Salome" userId="c8dc8e1a-06b7-4e71-a916-5fc9de161173" providerId="ADAL" clId="{C2192E32-0381-4FF3-BA12-78A7CFD0B5F7}" dt="2023-07-06T07:28:11.979" v="5012" actId="1076"/>
          <ac:cxnSpMkLst>
            <pc:docMk/>
            <pc:sldMk cId="2923476912" sldId="714"/>
            <ac:cxnSpMk id="33" creationId="{1A156AC9-D3D3-1D2A-D8CD-16221B3D6E8A}"/>
          </ac:cxnSpMkLst>
        </pc:cxnChg>
      </pc:sldChg>
      <pc:sldChg chg="del">
        <pc:chgData name="Stefan Salome" userId="c8dc8e1a-06b7-4e71-a916-5fc9de161173" providerId="ADAL" clId="{C2192E32-0381-4FF3-BA12-78A7CFD0B5F7}" dt="2023-07-05T12:31:09.826" v="4543" actId="47"/>
        <pc:sldMkLst>
          <pc:docMk/>
          <pc:sldMk cId="2293460220" sldId="1096"/>
        </pc:sldMkLst>
      </pc:sldChg>
      <pc:sldChg chg="del ord">
        <pc:chgData name="Stefan Salome" userId="c8dc8e1a-06b7-4e71-a916-5fc9de161173" providerId="ADAL" clId="{C2192E32-0381-4FF3-BA12-78A7CFD0B5F7}" dt="2023-07-05T12:31:07.375" v="4541" actId="47"/>
        <pc:sldMkLst>
          <pc:docMk/>
          <pc:sldMk cId="2441008964" sldId="1097"/>
        </pc:sldMkLst>
      </pc:sldChg>
      <pc:sldChg chg="modSp add mod ord">
        <pc:chgData name="Stefan Salome" userId="c8dc8e1a-06b7-4e71-a916-5fc9de161173" providerId="ADAL" clId="{C2192E32-0381-4FF3-BA12-78A7CFD0B5F7}" dt="2023-07-05T12:43:08.511" v="4708" actId="20577"/>
        <pc:sldMkLst>
          <pc:docMk/>
          <pc:sldMk cId="4159522671" sldId="1098"/>
        </pc:sldMkLst>
        <pc:spChg chg="mod">
          <ac:chgData name="Stefan Salome" userId="c8dc8e1a-06b7-4e71-a916-5fc9de161173" providerId="ADAL" clId="{C2192E32-0381-4FF3-BA12-78A7CFD0B5F7}" dt="2023-07-05T12:43:08.511" v="4708" actId="20577"/>
          <ac:spMkLst>
            <pc:docMk/>
            <pc:sldMk cId="4159522671" sldId="1098"/>
            <ac:spMk id="4" creationId="{56276F1A-519F-49B0-A512-A358A1F74DB3}"/>
          </ac:spMkLst>
        </pc:spChg>
      </pc:sldChg>
      <pc:sldChg chg="delSp modSp add mod">
        <pc:chgData name="Stefan Salome" userId="c8dc8e1a-06b7-4e71-a916-5fc9de161173" providerId="ADAL" clId="{C2192E32-0381-4FF3-BA12-78A7CFD0B5F7}" dt="2023-07-06T09:25:32.365" v="6066" actId="20577"/>
        <pc:sldMkLst>
          <pc:docMk/>
          <pc:sldMk cId="620313099" sldId="1099"/>
        </pc:sldMkLst>
        <pc:spChg chg="mod">
          <ac:chgData name="Stefan Salome" userId="c8dc8e1a-06b7-4e71-a916-5fc9de161173" providerId="ADAL" clId="{C2192E32-0381-4FF3-BA12-78A7CFD0B5F7}" dt="2023-07-06T09:25:32.365" v="6066" actId="20577"/>
          <ac:spMkLst>
            <pc:docMk/>
            <pc:sldMk cId="620313099" sldId="1099"/>
            <ac:spMk id="3" creationId="{E5D1510C-57F1-B42C-615D-25319DEB9F21}"/>
          </ac:spMkLst>
        </pc:spChg>
        <pc:spChg chg="mod">
          <ac:chgData name="Stefan Salome" userId="c8dc8e1a-06b7-4e71-a916-5fc9de161173" providerId="ADAL" clId="{C2192E32-0381-4FF3-BA12-78A7CFD0B5F7}" dt="2023-07-06T08:31:47.395" v="5305" actId="20577"/>
          <ac:spMkLst>
            <pc:docMk/>
            <pc:sldMk cId="620313099" sldId="1099"/>
            <ac:spMk id="4" creationId="{B608CAA9-2066-5446-BC6B-C6A82A92999A}"/>
          </ac:spMkLst>
        </pc:spChg>
        <pc:picChg chg="del">
          <ac:chgData name="Stefan Salome" userId="c8dc8e1a-06b7-4e71-a916-5fc9de161173" providerId="ADAL" clId="{C2192E32-0381-4FF3-BA12-78A7CFD0B5F7}" dt="2023-07-06T08:30:35.329" v="5201" actId="478"/>
          <ac:picMkLst>
            <pc:docMk/>
            <pc:sldMk cId="620313099" sldId="1099"/>
            <ac:picMk id="7" creationId="{307147C8-E30A-A298-A005-F5A8A8FEAAF6}"/>
          </ac:picMkLst>
        </pc:picChg>
      </pc:sldChg>
      <pc:sldChg chg="add del ord">
        <pc:chgData name="Stefan Salome" userId="c8dc8e1a-06b7-4e71-a916-5fc9de161173" providerId="ADAL" clId="{C2192E32-0381-4FF3-BA12-78A7CFD0B5F7}" dt="2023-07-06T08:57:06.564" v="5326" actId="47"/>
        <pc:sldMkLst>
          <pc:docMk/>
          <pc:sldMk cId="3756396514" sldId="1100"/>
        </pc:sldMkLst>
      </pc:sldChg>
      <pc:sldMasterChg chg="delSldLayout">
        <pc:chgData name="Stefan Salome" userId="c8dc8e1a-06b7-4e71-a916-5fc9de161173" providerId="ADAL" clId="{C2192E32-0381-4FF3-BA12-78A7CFD0B5F7}" dt="2023-07-05T12:31:07.375" v="4541" actId="47"/>
        <pc:sldMasterMkLst>
          <pc:docMk/>
          <pc:sldMasterMk cId="4205113613" sldId="2147483648"/>
        </pc:sldMasterMkLst>
        <pc:sldLayoutChg chg="del">
          <pc:chgData name="Stefan Salome" userId="c8dc8e1a-06b7-4e71-a916-5fc9de161173" providerId="ADAL" clId="{C2192E32-0381-4FF3-BA12-78A7CFD0B5F7}" dt="2023-06-30T12:32:13.971" v="4255" actId="47"/>
          <pc:sldLayoutMkLst>
            <pc:docMk/>
            <pc:sldMasterMk cId="4205113613" sldId="2147483648"/>
            <pc:sldLayoutMk cId="57170481" sldId="2147483664"/>
          </pc:sldLayoutMkLst>
        </pc:sldLayoutChg>
        <pc:sldLayoutChg chg="del">
          <pc:chgData name="Stefan Salome" userId="c8dc8e1a-06b7-4e71-a916-5fc9de161173" providerId="ADAL" clId="{C2192E32-0381-4FF3-BA12-78A7CFD0B5F7}" dt="2023-07-05T12:31:07.375" v="4541" actId="47"/>
          <pc:sldLayoutMkLst>
            <pc:docMk/>
            <pc:sldMasterMk cId="4205113613" sldId="2147483648"/>
            <pc:sldLayoutMk cId="4142897297" sldId="2147483666"/>
          </pc:sldLayoutMkLst>
        </pc:sldLayoutChg>
      </pc:sldMasterChg>
    </pc:docChg>
  </pc:docChgLst>
</pc:chgInfo>
</file>

<file path=ppt/ink/ink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12-08T12:18:18.943"/>
    </inkml:context>
    <inkml:brush xml:id="br0">
      <inkml:brushProperty name="width" value="0.05" units="cm"/>
      <inkml:brushProperty name="height" value="0.05" units="cm"/>
      <inkml:brushProperty name="color" value="#E71224"/>
    </inkml:brush>
  </inkml:definitions>
  <inkml:trace contextRef="#ctx0" brushRef="#br0">1 1 24575,'0'0'-8191</inkml:trace>
</inkml:ink>
</file>

<file path=ppt/ink/ink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12-08T12:18:18.943"/>
    </inkml:context>
    <inkml:brush xml:id="br0">
      <inkml:brushProperty name="width" value="0.05" units="cm"/>
      <inkml:brushProperty name="height" value="0.05" units="cm"/>
      <inkml:brushProperty name="color" value="#E71224"/>
    </inkml:brush>
  </inkml:definitions>
  <inkml:trace contextRef="#ctx0" brushRef="#br0">1 1 24575,'0'0'-8191</inkml:trace>
</inkml:ink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l-NL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096D53D-2B5C-438B-B269-0A2176E73005}" type="datetimeFigureOut">
              <a:rPr lang="nl-NL" smtClean="0"/>
              <a:t>6-7-2023</a:t>
            </a:fld>
            <a:endParaRPr lang="nl-NL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nl-NL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NL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l-NL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02F7D17-5878-42D1-A4CD-B7AE749CA2FC}" type="slidenum">
              <a:rPr lang="nl-NL" smtClean="0"/>
              <a:t>‹#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01666829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0066FF57-52DF-447C-BE56-9CE943526A61}" type="slidenum">
              <a:rPr lang="nl-NL" altLang="nl-NL" smtClean="0"/>
              <a:pPr>
                <a:defRPr/>
              </a:pPr>
              <a:t>1</a:t>
            </a:fld>
            <a:endParaRPr lang="nl-NL" altLang="nl-NL"/>
          </a:p>
        </p:txBody>
      </p:sp>
    </p:spTree>
    <p:extLst>
      <p:ext uri="{BB962C8B-B14F-4D97-AF65-F5344CB8AC3E}">
        <p14:creationId xmlns:p14="http://schemas.microsoft.com/office/powerpoint/2010/main" val="130459701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02F7D17-5878-42D1-A4CD-B7AE749CA2FC}" type="slidenum">
              <a:rPr lang="nl-NL" smtClean="0"/>
              <a:t>10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400542150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02F7D17-5878-42D1-A4CD-B7AE749CA2FC}" type="slidenum">
              <a:rPr lang="nl-NL" smtClean="0"/>
              <a:t>11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361614208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02F7D17-5878-42D1-A4CD-B7AE749CA2FC}" type="slidenum">
              <a:rPr lang="nl-NL" smtClean="0"/>
              <a:t>13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18720283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02F7D17-5878-42D1-A4CD-B7AE749CA2FC}" type="slidenum">
              <a:rPr lang="nl-NL" smtClean="0"/>
              <a:t>15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321901962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02F7D17-5878-42D1-A4CD-B7AE749CA2FC}" type="slidenum">
              <a:rPr lang="nl-NL" smtClean="0"/>
              <a:t>16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744762166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02F7D17-5878-42D1-A4CD-B7AE749CA2FC}" type="slidenum">
              <a:rPr lang="nl-NL" smtClean="0"/>
              <a:t>19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821873339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0066FF57-52DF-447C-BE56-9CE943526A61}" type="slidenum">
              <a:rPr lang="en-GB" altLang="nl-NL" smtClean="0"/>
              <a:pPr>
                <a:defRPr/>
              </a:pPr>
              <a:t>20</a:t>
            </a:fld>
            <a:endParaRPr lang="en-GB" altLang="nl-NL"/>
          </a:p>
        </p:txBody>
      </p:sp>
    </p:spTree>
    <p:extLst>
      <p:ext uri="{BB962C8B-B14F-4D97-AF65-F5344CB8AC3E}">
        <p14:creationId xmlns:p14="http://schemas.microsoft.com/office/powerpoint/2010/main" val="407091989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0066FF57-52DF-447C-BE56-9CE943526A61}" type="slidenum">
              <a:rPr lang="en-GB" altLang="nl-NL" smtClean="0"/>
              <a:pPr>
                <a:defRPr/>
              </a:pPr>
              <a:t>2</a:t>
            </a:fld>
            <a:endParaRPr lang="en-GB" altLang="nl-NL"/>
          </a:p>
        </p:txBody>
      </p:sp>
    </p:spTree>
    <p:extLst>
      <p:ext uri="{BB962C8B-B14F-4D97-AF65-F5344CB8AC3E}">
        <p14:creationId xmlns:p14="http://schemas.microsoft.com/office/powerpoint/2010/main" val="120349137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0066FF57-52DF-447C-BE56-9CE943526A61}" type="slidenum">
              <a:rPr lang="nl-NL" altLang="nl-NL" smtClean="0"/>
              <a:pPr>
                <a:defRPr/>
              </a:pPr>
              <a:t>3</a:t>
            </a:fld>
            <a:endParaRPr lang="nl-NL" altLang="nl-NL"/>
          </a:p>
        </p:txBody>
      </p:sp>
    </p:spTree>
    <p:extLst>
      <p:ext uri="{BB962C8B-B14F-4D97-AF65-F5344CB8AC3E}">
        <p14:creationId xmlns:p14="http://schemas.microsoft.com/office/powerpoint/2010/main" val="373623646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02F7D17-5878-42D1-A4CD-B7AE749CA2FC}" type="slidenum">
              <a:rPr lang="nl-NL" smtClean="0"/>
              <a:t>4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35716937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0066FF57-52DF-447C-BE56-9CE943526A61}" type="slidenum">
              <a:rPr lang="nl-NL" altLang="nl-NL" smtClean="0"/>
              <a:pPr>
                <a:defRPr/>
              </a:pPr>
              <a:t>5</a:t>
            </a:fld>
            <a:endParaRPr lang="nl-NL" altLang="nl-NL"/>
          </a:p>
        </p:txBody>
      </p:sp>
    </p:spTree>
    <p:extLst>
      <p:ext uri="{BB962C8B-B14F-4D97-AF65-F5344CB8AC3E}">
        <p14:creationId xmlns:p14="http://schemas.microsoft.com/office/powerpoint/2010/main" val="274687446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02F7D17-5878-42D1-A4CD-B7AE749CA2FC}" type="slidenum">
              <a:rPr lang="nl-NL" smtClean="0"/>
              <a:t>6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85065292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02F7D17-5878-42D1-A4CD-B7AE749CA2FC}" type="slidenum">
              <a:rPr lang="nl-NL" smtClean="0"/>
              <a:t>7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41552189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02F7D17-5878-42D1-A4CD-B7AE749CA2FC}" type="slidenum">
              <a:rPr lang="nl-NL" smtClean="0"/>
              <a:t>8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63737597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02F7D17-5878-42D1-A4CD-B7AE749CA2FC}" type="slidenum">
              <a:rPr lang="nl-NL" smtClean="0"/>
              <a:t>9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74525549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png"/><Relationship Id="rId5" Type="http://schemas.openxmlformats.org/officeDocument/2006/relationships/image" Target="../media/image4.svg"/><Relationship Id="rId4" Type="http://schemas.openxmlformats.org/officeDocument/2006/relationships/image" Target="../media/image3.pn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B6820BA-849E-9812-5898-FC95546C0B8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nl-NL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E7FC3881-CC82-5D5F-D10E-75175B0B3B5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nl-NL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7715F80-8144-8EDD-6757-0A8D9109B53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CB0D5E7-C423-4EA0-B70F-02403CA658A0}" type="datetimeFigureOut">
              <a:rPr lang="nl-NL" smtClean="0"/>
              <a:t>6-7-2023</a:t>
            </a:fld>
            <a:endParaRPr lang="nl-NL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BE251BA-97C6-7263-0145-D5E7C91D995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747514C-6A65-F6A4-5250-0EC362EA5F0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A73797-73BA-483A-9A80-6766BB8907F8}" type="slidenum">
              <a:rPr lang="nl-NL" smtClean="0"/>
              <a:t>‹#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75587515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03FDDC5-48D6-8DDA-D863-CC941E8E7D5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nl-NL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612832AF-9B2D-2806-C388-0BC2C9AAB4E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NL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AF0D8CC-CD3E-D590-08B2-DC0B5FE5FA2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CB0D5E7-C423-4EA0-B70F-02403CA658A0}" type="datetimeFigureOut">
              <a:rPr lang="nl-NL" smtClean="0"/>
              <a:t>6-7-2023</a:t>
            </a:fld>
            <a:endParaRPr lang="nl-NL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FB7BA13-4A54-5227-B911-CA5A82895D6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F1B054F-B863-EA4E-47E2-966E28AEB4C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A73797-73BA-483A-9A80-6766BB8907F8}" type="slidenum">
              <a:rPr lang="nl-NL" smtClean="0"/>
              <a:t>‹#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00618582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81B7D5DD-E62C-79A0-7FF5-2863E2603137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nl-NL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04C423B8-7839-AD75-AB90-49C36A7416C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NL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B83FB31-7971-5E9C-EA58-EC339CA1400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CB0D5E7-C423-4EA0-B70F-02403CA658A0}" type="datetimeFigureOut">
              <a:rPr lang="nl-NL" smtClean="0"/>
              <a:t>6-7-2023</a:t>
            </a:fld>
            <a:endParaRPr lang="nl-NL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B94D1FC-B411-6D7B-DCAF-25962F0A310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14FF931-195A-2EA2-8C63-F943EC52035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A73797-73BA-483A-9A80-6766BB8907F8}" type="slidenum">
              <a:rPr lang="nl-NL" smtClean="0"/>
              <a:t>‹#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421234399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Voorbl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hoek 2">
            <a:extLst>
              <a:ext uri="{FF2B5EF4-FFF2-40B4-BE49-F238E27FC236}">
                <a16:creationId xmlns:a16="http://schemas.microsoft.com/office/drawing/2014/main" id="{216B5E2A-93D5-474D-821C-77400C5412F8}"/>
              </a:ext>
            </a:extLst>
          </p:cNvPr>
          <p:cNvSpPr/>
          <p:nvPr userDrawn="1"/>
        </p:nvSpPr>
        <p:spPr>
          <a:xfrm>
            <a:off x="-7" y="-3257"/>
            <a:ext cx="12192002" cy="6858000"/>
          </a:xfrm>
          <a:prstGeom prst="rect">
            <a:avLst/>
          </a:prstGeom>
          <a:solidFill>
            <a:srgbClr val="25265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pic>
        <p:nvPicPr>
          <p:cNvPr id="4" name="Afbeelding 3" descr="Afbeelding met spel, tekening&#10;&#10;Automatisch gegenereerde beschrijving">
            <a:extLst>
              <a:ext uri="{FF2B5EF4-FFF2-40B4-BE49-F238E27FC236}">
                <a16:creationId xmlns:a16="http://schemas.microsoft.com/office/drawing/2014/main" id="{C5102C26-8A16-4508-B9EA-F89B2D5ECCA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" y="4890527"/>
            <a:ext cx="4421172" cy="1308739"/>
          </a:xfrm>
          <a:prstGeom prst="rect">
            <a:avLst/>
          </a:prstGeom>
        </p:spPr>
      </p:pic>
      <p:pic>
        <p:nvPicPr>
          <p:cNvPr id="5" name="Afbeelding 4">
            <a:extLst>
              <a:ext uri="{FF2B5EF4-FFF2-40B4-BE49-F238E27FC236}">
                <a16:creationId xmlns:a16="http://schemas.microsoft.com/office/drawing/2014/main" id="{1EDE4DB5-F7E4-4A05-A157-F3BEAD90213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alphaModFix amt="70000"/>
          </a:blip>
          <a:srcRect l="15262" r="15262"/>
          <a:stretch/>
        </p:blipFill>
        <p:spPr>
          <a:xfrm flipH="1">
            <a:off x="6516644" y="-3257"/>
            <a:ext cx="5675351" cy="5443697"/>
          </a:xfrm>
          <a:custGeom>
            <a:avLst/>
            <a:gdLst>
              <a:gd name="connsiteX0" fmla="*/ 5675351 w 5675351"/>
              <a:gd name="connsiteY0" fmla="*/ 0 h 5443697"/>
              <a:gd name="connsiteX1" fmla="*/ 0 w 5675351"/>
              <a:gd name="connsiteY1" fmla="*/ 0 h 5443697"/>
              <a:gd name="connsiteX2" fmla="*/ 0 w 5675351"/>
              <a:gd name="connsiteY2" fmla="*/ 5442392 h 5443697"/>
              <a:gd name="connsiteX3" fmla="*/ 53212 w 5675351"/>
              <a:gd name="connsiteY3" fmla="*/ 5443697 h 5443697"/>
              <a:gd name="connsiteX4" fmla="*/ 5669377 w 5675351"/>
              <a:gd name="connsiteY4" fmla="*/ 267852 h 5443697"/>
              <a:gd name="connsiteX5" fmla="*/ 5675351 w 5675351"/>
              <a:gd name="connsiteY5" fmla="*/ 38595 h 54436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675351" h="5443697">
                <a:moveTo>
                  <a:pt x="5675351" y="0"/>
                </a:moveTo>
                <a:lnTo>
                  <a:pt x="0" y="0"/>
                </a:lnTo>
                <a:lnTo>
                  <a:pt x="0" y="5442392"/>
                </a:lnTo>
                <a:lnTo>
                  <a:pt x="53212" y="5443697"/>
                </a:lnTo>
                <a:cubicBezTo>
                  <a:pt x="3061920" y="5443697"/>
                  <a:pt x="5518762" y="3150978"/>
                  <a:pt x="5669377" y="267852"/>
                </a:cubicBezTo>
                <a:lnTo>
                  <a:pt x="5675351" y="38595"/>
                </a:lnTo>
                <a:close/>
              </a:path>
            </a:pathLst>
          </a:custGeom>
        </p:spPr>
      </p:pic>
      <p:pic>
        <p:nvPicPr>
          <p:cNvPr id="6" name="Graphic 5">
            <a:extLst>
              <a:ext uri="{FF2B5EF4-FFF2-40B4-BE49-F238E27FC236}">
                <a16:creationId xmlns:a16="http://schemas.microsoft.com/office/drawing/2014/main" id="{FD541152-6842-419C-B358-82A2D60A6FB7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9018299" y="3756662"/>
            <a:ext cx="3257522" cy="3210196"/>
          </a:xfrm>
          <a:prstGeom prst="rect">
            <a:avLst/>
          </a:prstGeom>
        </p:spPr>
      </p:pic>
      <p:sp>
        <p:nvSpPr>
          <p:cNvPr id="7" name="Rechthoek 6">
            <a:extLst>
              <a:ext uri="{FF2B5EF4-FFF2-40B4-BE49-F238E27FC236}">
                <a16:creationId xmlns:a16="http://schemas.microsoft.com/office/drawing/2014/main" id="{7405E414-6325-4C14-9B1A-C033047A2ECD}"/>
              </a:ext>
            </a:extLst>
          </p:cNvPr>
          <p:cNvSpPr/>
          <p:nvPr userDrawn="1"/>
        </p:nvSpPr>
        <p:spPr bwMode="auto">
          <a:xfrm>
            <a:off x="781053" y="2695573"/>
            <a:ext cx="1020763" cy="46038"/>
          </a:xfrm>
          <a:prstGeom prst="rect">
            <a:avLst/>
          </a:prstGeom>
          <a:solidFill>
            <a:srgbClr val="3F62AC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nl-NL"/>
          </a:p>
        </p:txBody>
      </p:sp>
      <p:sp>
        <p:nvSpPr>
          <p:cNvPr id="9" name="Tijdelijke aanduiding voor tekst 30">
            <a:extLst>
              <a:ext uri="{FF2B5EF4-FFF2-40B4-BE49-F238E27FC236}">
                <a16:creationId xmlns:a16="http://schemas.microsoft.com/office/drawing/2014/main" id="{22C7FD92-AF74-490E-BDFD-8FA67A19454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81041" y="782638"/>
            <a:ext cx="5257801" cy="3143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1">
                <a:solidFill>
                  <a:schemeClr val="bg1"/>
                </a:solidFill>
                <a:latin typeface="Fieldwork 03 Geo Light" pitchFamily="50" charset="0"/>
              </a:defRPr>
            </a:lvl1pPr>
          </a:lstStyle>
          <a:p>
            <a:pPr eaLnBrk="1" fontAlgn="b" hangingPunct="1">
              <a:lnSpc>
                <a:spcPct val="80000"/>
              </a:lnSpc>
              <a:defRPr/>
            </a:pPr>
            <a:r>
              <a:rPr lang="nl-NL" spc="300">
                <a:solidFill>
                  <a:schemeClr val="bg1"/>
                </a:solidFill>
                <a:latin typeface="Fieldwork 03 Geo Light" pitchFamily="50" charset="0"/>
                <a:ea typeface="ＭＳ Ｐゴシック" charset="0"/>
                <a:cs typeface="Nexa Regular"/>
              </a:rPr>
              <a:t>ASSET DYNAMICS</a:t>
            </a:r>
          </a:p>
        </p:txBody>
      </p:sp>
      <p:sp>
        <p:nvSpPr>
          <p:cNvPr id="13" name="Rechthoek 12">
            <a:extLst>
              <a:ext uri="{FF2B5EF4-FFF2-40B4-BE49-F238E27FC236}">
                <a16:creationId xmlns:a16="http://schemas.microsoft.com/office/drawing/2014/main" id="{92DC917E-82A9-4352-A405-56026E3C7826}"/>
              </a:ext>
            </a:extLst>
          </p:cNvPr>
          <p:cNvSpPr/>
          <p:nvPr userDrawn="1"/>
        </p:nvSpPr>
        <p:spPr>
          <a:xfrm>
            <a:off x="5" y="4890527"/>
            <a:ext cx="3906174" cy="130873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4" name="Ovaal 13">
            <a:extLst>
              <a:ext uri="{FF2B5EF4-FFF2-40B4-BE49-F238E27FC236}">
                <a16:creationId xmlns:a16="http://schemas.microsoft.com/office/drawing/2014/main" id="{1D67A9E0-2602-4BC5-9503-FA5E352BDDCE}"/>
              </a:ext>
            </a:extLst>
          </p:cNvPr>
          <p:cNvSpPr/>
          <p:nvPr userDrawn="1"/>
        </p:nvSpPr>
        <p:spPr>
          <a:xfrm>
            <a:off x="3355760" y="4890526"/>
            <a:ext cx="1065412" cy="1308739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16" name="Afbeelding 15" descr="Afbeelding met tekst, teken&#10;&#10;Automatisch gegenereerde beschrijving">
            <a:extLst>
              <a:ext uri="{FF2B5EF4-FFF2-40B4-BE49-F238E27FC236}">
                <a16:creationId xmlns:a16="http://schemas.microsoft.com/office/drawing/2014/main" id="{ACA106D4-34ED-4C7D-8EC1-8346D146DB37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877714" y="5186924"/>
            <a:ext cx="2734324" cy="715940"/>
          </a:xfrm>
          <a:prstGeom prst="rect">
            <a:avLst/>
          </a:prstGeom>
        </p:spPr>
      </p:pic>
      <p:sp>
        <p:nvSpPr>
          <p:cNvPr id="17" name="Tijdelijke aanduiding voor tekst 6">
            <a:extLst>
              <a:ext uri="{FF2B5EF4-FFF2-40B4-BE49-F238E27FC236}">
                <a16:creationId xmlns:a16="http://schemas.microsoft.com/office/drawing/2014/main" id="{982C1AAF-8818-41CA-B216-186774B3724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81038" y="2860124"/>
            <a:ext cx="5257800" cy="627614"/>
          </a:xfrm>
          <a:prstGeom prst="rect">
            <a:avLst/>
          </a:prstGeom>
        </p:spPr>
        <p:txBody>
          <a:bodyPr/>
          <a:lstStyle>
            <a:lvl1pPr>
              <a:buNone/>
              <a:defRPr sz="2000">
                <a:solidFill>
                  <a:schemeClr val="bg1"/>
                </a:solidFill>
                <a:latin typeface="Fieldwork 03 Geo Light" pitchFamily="50" charset="0"/>
              </a:defRPr>
            </a:lvl1pPr>
          </a:lstStyle>
          <a:p>
            <a:pPr lvl="0"/>
            <a:r>
              <a:rPr lang="en-GB"/>
              <a:t>Naam van de </a:t>
            </a:r>
            <a:r>
              <a:rPr lang="en-GB" err="1"/>
              <a:t>opdrachtgever</a:t>
            </a:r>
            <a:endParaRPr lang="en-GB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88E5AB84-90DC-4766-BEB1-0B5C12E156B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81039" y="1215476"/>
            <a:ext cx="5257799" cy="1480097"/>
          </a:xfrm>
          <a:prstGeom prst="rect">
            <a:avLst/>
          </a:prstGeom>
        </p:spPr>
        <p:txBody>
          <a:bodyPr/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nl-NL"/>
              <a:t>titel</a:t>
            </a:r>
          </a:p>
        </p:txBody>
      </p:sp>
    </p:spTree>
    <p:extLst>
      <p:ext uri="{BB962C8B-B14F-4D97-AF65-F5344CB8AC3E}">
        <p14:creationId xmlns:p14="http://schemas.microsoft.com/office/powerpoint/2010/main" val="405938887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ullet-indel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hoek 3">
            <a:extLst>
              <a:ext uri="{FF2B5EF4-FFF2-40B4-BE49-F238E27FC236}">
                <a16:creationId xmlns:a16="http://schemas.microsoft.com/office/drawing/2014/main" id="{4105C56A-4DBC-48D1-91DA-7F4B8C6AD44D}"/>
              </a:ext>
            </a:extLst>
          </p:cNvPr>
          <p:cNvSpPr/>
          <p:nvPr userDrawn="1"/>
        </p:nvSpPr>
        <p:spPr bwMode="auto">
          <a:xfrm>
            <a:off x="823916" y="1460501"/>
            <a:ext cx="946149" cy="46038"/>
          </a:xfrm>
          <a:prstGeom prst="rect">
            <a:avLst/>
          </a:prstGeom>
          <a:solidFill>
            <a:srgbClr val="252654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nl-NL"/>
          </a:p>
        </p:txBody>
      </p:sp>
      <p:sp>
        <p:nvSpPr>
          <p:cNvPr id="9" name="Tijdelijke aanduiding voor tekst 13">
            <a:extLst>
              <a:ext uri="{FF2B5EF4-FFF2-40B4-BE49-F238E27FC236}">
                <a16:creationId xmlns:a16="http://schemas.microsoft.com/office/drawing/2014/main" id="{0C791344-3ACE-4E1F-AB6C-20D98FA73AB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23900" y="1617663"/>
            <a:ext cx="8215911" cy="4317471"/>
          </a:xfrm>
          <a:prstGeom prst="rect">
            <a:avLst/>
          </a:prstGeom>
        </p:spPr>
        <p:txBody>
          <a:bodyPr/>
          <a:lstStyle>
            <a:lvl1pPr marL="0" indent="288000">
              <a:lnSpc>
                <a:spcPct val="100000"/>
              </a:lnSpc>
              <a:spcBef>
                <a:spcPts val="0"/>
              </a:spcBef>
              <a:buFont typeface="+mj-lt"/>
              <a:buAutoNum type="arabicPeriod"/>
              <a:defRPr sz="1600" b="1" spc="0" baseline="0">
                <a:solidFill>
                  <a:srgbClr val="252654"/>
                </a:solidFill>
                <a:latin typeface="Fieldwork 03 Geo Light" pitchFamily="50" charset="0"/>
              </a:defRPr>
            </a:lvl1pPr>
            <a:lvl2pPr marL="685818" indent="-228607">
              <a:lnSpc>
                <a:spcPct val="100000"/>
              </a:lnSpc>
              <a:buFont typeface="Wingdings" panose="05000000000000000000" pitchFamily="2" charset="2"/>
              <a:buChar char="§"/>
              <a:defRPr sz="1400" spc="0" baseline="0">
                <a:latin typeface="Fieldwork 03 Geo Light" pitchFamily="50" charset="0"/>
              </a:defRPr>
            </a:lvl2pPr>
            <a:lvl3pPr>
              <a:lnSpc>
                <a:spcPts val="2200"/>
              </a:lnSpc>
              <a:buNone/>
              <a:defRPr sz="1400" spc="0" baseline="0">
                <a:latin typeface="Fieldwork 03 Geo Light" pitchFamily="50" charset="0"/>
              </a:defRPr>
            </a:lvl3pPr>
          </a:lstStyle>
          <a:p>
            <a:pPr lvl="0"/>
            <a:r>
              <a:rPr lang="nl-NL"/>
              <a:t>Invullen</a:t>
            </a:r>
          </a:p>
          <a:p>
            <a:pPr lvl="1"/>
            <a:r>
              <a:rPr lang="nl-NL"/>
              <a:t>Invullen</a:t>
            </a:r>
          </a:p>
          <a:p>
            <a:pPr lvl="1"/>
            <a:r>
              <a:rPr lang="nl-NL"/>
              <a:t>Invullen</a:t>
            </a:r>
          </a:p>
          <a:p>
            <a:pPr lvl="0"/>
            <a:endParaRPr lang="nl-NL"/>
          </a:p>
        </p:txBody>
      </p:sp>
      <p:sp>
        <p:nvSpPr>
          <p:cNvPr id="10" name="Tijdelijke aanduiding voor tekst 6">
            <a:extLst>
              <a:ext uri="{FF2B5EF4-FFF2-40B4-BE49-F238E27FC236}">
                <a16:creationId xmlns:a16="http://schemas.microsoft.com/office/drawing/2014/main" id="{267E6C03-7B04-4605-910E-2F3C491999B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338202" y="3750734"/>
            <a:ext cx="2464332" cy="218440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1801"/>
              </a:lnSpc>
              <a:spcBef>
                <a:spcPts val="0"/>
              </a:spcBef>
              <a:buFont typeface="Arial" panose="020B0604020202020204" pitchFamily="34" charset="0"/>
              <a:buNone/>
              <a:defRPr sz="1100" kern="1200" spc="0" baseline="0">
                <a:solidFill>
                  <a:srgbClr val="333333"/>
                </a:solidFill>
                <a:latin typeface="Fieldwork 02 Hum Thin" pitchFamily="50" charset="0"/>
              </a:defRPr>
            </a:lvl1pPr>
          </a:lstStyle>
          <a:p>
            <a:pPr lvl="0"/>
            <a:r>
              <a:rPr lang="en-GB" err="1"/>
              <a:t>opmerking</a:t>
            </a:r>
            <a:endParaRPr lang="en-GB"/>
          </a:p>
          <a:p>
            <a:pPr lvl="0"/>
            <a:endParaRPr lang="en-GB"/>
          </a:p>
          <a:p>
            <a:pPr lvl="0"/>
            <a:endParaRPr lang="en-GB"/>
          </a:p>
        </p:txBody>
      </p:sp>
      <p:sp>
        <p:nvSpPr>
          <p:cNvPr id="11" name="Titel 2">
            <a:extLst>
              <a:ext uri="{FF2B5EF4-FFF2-40B4-BE49-F238E27FC236}">
                <a16:creationId xmlns:a16="http://schemas.microsoft.com/office/drawing/2014/main" id="{E088C221-82C2-49E8-AADE-710E5DEF19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23898" y="713882"/>
            <a:ext cx="8207033" cy="746619"/>
          </a:xfrm>
          <a:prstGeom prst="rect">
            <a:avLst/>
          </a:prstGeom>
        </p:spPr>
        <p:txBody>
          <a:bodyPr/>
          <a:lstStyle>
            <a:lvl1pPr>
              <a:defRPr sz="3600"/>
            </a:lvl1pPr>
          </a:lstStyle>
          <a:p>
            <a:r>
              <a:rPr lang="nl-NL"/>
              <a:t>inhoud-</a:t>
            </a:r>
            <a:r>
              <a:rPr lang="nl-NL" err="1"/>
              <a:t>bullets</a:t>
            </a:r>
            <a:endParaRPr lang="nl-NL"/>
          </a:p>
        </p:txBody>
      </p:sp>
      <p:pic>
        <p:nvPicPr>
          <p:cNvPr id="8" name="Afbeelding 7">
            <a:extLst>
              <a:ext uri="{FF2B5EF4-FFF2-40B4-BE49-F238E27FC236}">
                <a16:creationId xmlns:a16="http://schemas.microsoft.com/office/drawing/2014/main" id="{E063A2A5-F684-4622-8D95-346318C593F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t="4771" r="2945" b="14064"/>
          <a:stretch/>
        </p:blipFill>
        <p:spPr>
          <a:xfrm>
            <a:off x="5205278" y="0"/>
            <a:ext cx="7025196" cy="6874184"/>
          </a:xfrm>
          <a:prstGeom prst="rect">
            <a:avLst/>
          </a:prstGeom>
        </p:spPr>
      </p:pic>
      <p:pic>
        <p:nvPicPr>
          <p:cNvPr id="12" name="Afbeelding 11" descr="Afbeelding met tekst, teken&#10;&#10;Automatisch gegenereerde beschrijving">
            <a:extLst>
              <a:ext uri="{FF2B5EF4-FFF2-40B4-BE49-F238E27FC236}">
                <a16:creationId xmlns:a16="http://schemas.microsoft.com/office/drawing/2014/main" id="{C5A184BD-7A59-4A9F-AA23-70207180DA85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9738804" y="6193443"/>
            <a:ext cx="1580226" cy="4137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9481661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kstpagin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Afbeelding 1" descr="Presentatie-tekstblad_Copernicos.jpg">
            <a:extLst>
              <a:ext uri="{FF2B5EF4-FFF2-40B4-BE49-F238E27FC236}">
                <a16:creationId xmlns:a16="http://schemas.microsoft.com/office/drawing/2014/main" id="{42532050-49D4-4962-B79B-61A075EFC35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66" y="0"/>
            <a:ext cx="12187237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Rechthoek 8">
            <a:extLst>
              <a:ext uri="{FF2B5EF4-FFF2-40B4-BE49-F238E27FC236}">
                <a16:creationId xmlns:a16="http://schemas.microsoft.com/office/drawing/2014/main" id="{0375A330-2922-4AB9-9CE7-1EB75A60A17A}"/>
              </a:ext>
            </a:extLst>
          </p:cNvPr>
          <p:cNvSpPr/>
          <p:nvPr userDrawn="1"/>
        </p:nvSpPr>
        <p:spPr bwMode="auto">
          <a:xfrm>
            <a:off x="823916" y="1460501"/>
            <a:ext cx="946149" cy="46038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nl-NL"/>
          </a:p>
        </p:txBody>
      </p:sp>
      <p:sp>
        <p:nvSpPr>
          <p:cNvPr id="12" name="Tijdelijke aanduiding voor tekst 13">
            <a:extLst>
              <a:ext uri="{FF2B5EF4-FFF2-40B4-BE49-F238E27FC236}">
                <a16:creationId xmlns:a16="http://schemas.microsoft.com/office/drawing/2014/main" id="{D432BC6E-6F40-4A6C-BCC4-3AED7397964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23901" y="1617663"/>
            <a:ext cx="8207034" cy="73025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1" spc="0" baseline="0">
                <a:solidFill>
                  <a:srgbClr val="252654"/>
                </a:solidFill>
                <a:latin typeface="Fieldwork 03 Geo Light" pitchFamily="50" charset="0"/>
              </a:defRPr>
            </a:lvl1pPr>
          </a:lstStyle>
          <a:p>
            <a:pPr lvl="0"/>
            <a:r>
              <a:rPr lang="nl-NL"/>
              <a:t>Inleiding</a:t>
            </a:r>
          </a:p>
        </p:txBody>
      </p:sp>
      <p:sp>
        <p:nvSpPr>
          <p:cNvPr id="8" name="Tijdelijke aanduiding voor tekst 6">
            <a:extLst>
              <a:ext uri="{FF2B5EF4-FFF2-40B4-BE49-F238E27FC236}">
                <a16:creationId xmlns:a16="http://schemas.microsoft.com/office/drawing/2014/main" id="{AE9FB192-F30D-4605-AEE9-9B9ABE3EE17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723898" y="2513013"/>
            <a:ext cx="8207037" cy="3631105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buNone/>
              <a:defRPr sz="1200" kern="1200" spc="0" baseline="0">
                <a:solidFill>
                  <a:srgbClr val="333333"/>
                </a:solidFill>
                <a:latin typeface="Fieldwork 02 Geo Thin" pitchFamily="50" charset="0"/>
              </a:defRPr>
            </a:lvl1pPr>
          </a:lstStyle>
          <a:p>
            <a:pPr lvl="0"/>
            <a:endParaRPr lang="en-GB"/>
          </a:p>
        </p:txBody>
      </p:sp>
      <p:sp>
        <p:nvSpPr>
          <p:cNvPr id="10" name="Titel 2">
            <a:extLst>
              <a:ext uri="{FF2B5EF4-FFF2-40B4-BE49-F238E27FC236}">
                <a16:creationId xmlns:a16="http://schemas.microsoft.com/office/drawing/2014/main" id="{46F4616F-A653-40D4-B6D9-82C961479A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23899" y="713882"/>
            <a:ext cx="8207034" cy="746619"/>
          </a:xfrm>
          <a:prstGeom prst="rect">
            <a:avLst/>
          </a:prstGeom>
        </p:spPr>
        <p:txBody>
          <a:bodyPr/>
          <a:lstStyle>
            <a:lvl1pPr>
              <a:defRPr sz="3600"/>
            </a:lvl1pPr>
          </a:lstStyle>
          <a:p>
            <a:r>
              <a:rPr lang="nl-NL"/>
              <a:t>titelpagina</a:t>
            </a:r>
          </a:p>
        </p:txBody>
      </p:sp>
    </p:spTree>
    <p:extLst>
      <p:ext uri="{BB962C8B-B14F-4D97-AF65-F5344CB8AC3E}">
        <p14:creationId xmlns:p14="http://schemas.microsoft.com/office/powerpoint/2010/main" val="6796958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Eind pagin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Afbeelding 1">
            <a:extLst>
              <a:ext uri="{FF2B5EF4-FFF2-40B4-BE49-F238E27FC236}">
                <a16:creationId xmlns:a16="http://schemas.microsoft.com/office/drawing/2014/main" id="{245C29B9-B6EC-41C8-9E41-6F101B4A78CD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75" y="0"/>
            <a:ext cx="1218565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Titel 3">
            <a:extLst>
              <a:ext uri="{FF2B5EF4-FFF2-40B4-BE49-F238E27FC236}">
                <a16:creationId xmlns:a16="http://schemas.microsoft.com/office/drawing/2014/main" id="{FF76EDED-D5BC-40A2-9CD2-8CF26E5F895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04851" y="700466"/>
            <a:ext cx="5918688" cy="2131566"/>
          </a:xfrm>
          <a:prstGeom prst="rect">
            <a:avLst/>
          </a:prstGeom>
        </p:spPr>
        <p:txBody>
          <a:bodyPr/>
          <a:lstStyle>
            <a:lvl1pPr>
              <a:lnSpc>
                <a:spcPts val="4400"/>
              </a:lnSpc>
              <a:defRPr sz="4800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nl-NL"/>
              <a:t>wij kijken uit naar een succesvolle samenwerking</a:t>
            </a:r>
          </a:p>
        </p:txBody>
      </p:sp>
    </p:spTree>
    <p:extLst>
      <p:ext uri="{BB962C8B-B14F-4D97-AF65-F5344CB8AC3E}">
        <p14:creationId xmlns:p14="http://schemas.microsoft.com/office/powerpoint/2010/main" val="371329553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98E714D-B155-ED0B-88C2-DF2C816A090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nl-NL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9C8B468-D597-1AF3-433D-9E25D2C9B55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NL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C83162F-4356-2F44-FD07-4EA0FBDD9AA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CB0D5E7-C423-4EA0-B70F-02403CA658A0}" type="datetimeFigureOut">
              <a:rPr lang="nl-NL" smtClean="0"/>
              <a:t>6-7-2023</a:t>
            </a:fld>
            <a:endParaRPr lang="nl-NL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8522F9B-4EC2-5ED5-472B-EBB13603B2C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0DCA8FD-A23D-E101-0652-916ACF5BB3B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A73797-73BA-483A-9A80-6766BB8907F8}" type="slidenum">
              <a:rPr lang="nl-NL" smtClean="0"/>
              <a:t>‹#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27685010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3A5A49-4784-0F67-91AA-05342BD6B99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nl-NL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188D2C6-1F84-FF4E-355E-7015B8F5F02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28CED70-D5E9-EAD1-3AB4-B6A03C014C5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CB0D5E7-C423-4EA0-B70F-02403CA658A0}" type="datetimeFigureOut">
              <a:rPr lang="nl-NL" smtClean="0"/>
              <a:t>6-7-2023</a:t>
            </a:fld>
            <a:endParaRPr lang="nl-NL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932D33E-3DF1-1ABF-5F8E-8B19FF15131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62FCA36-793D-ADB3-0A25-0B61EB70A4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A73797-73BA-483A-9A80-6766BB8907F8}" type="slidenum">
              <a:rPr lang="nl-NL" smtClean="0"/>
              <a:t>‹#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90703153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8CB3A62-F075-7D94-F752-2EB134762CE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nl-NL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9CC302E-60FA-EAC5-4333-880E9AFC9437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NL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28830D1-A720-819E-9F39-F008AE43D99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NL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55CD6D5-7CBA-928F-1FA9-6E2D9ADCD88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CB0D5E7-C423-4EA0-B70F-02403CA658A0}" type="datetimeFigureOut">
              <a:rPr lang="nl-NL" smtClean="0"/>
              <a:t>6-7-2023</a:t>
            </a:fld>
            <a:endParaRPr lang="nl-NL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2721FD6-4610-654A-1543-BE61F5193F1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FE55F82-D1F5-EB70-0279-854FEB15C28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A73797-73BA-483A-9A80-6766BB8907F8}" type="slidenum">
              <a:rPr lang="nl-NL" smtClean="0"/>
              <a:t>‹#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427739949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BFAEF88-CFC9-817F-E964-134D1EF1D82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nl-NL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A9A92C9-FFD7-6B33-D8E8-4EFA086E6A6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230EEE1-C13B-78FC-5EA3-C82E0C3E46A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NL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5EDEC1E-92F5-CB5C-BC21-444CB2B8894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5376F0B0-B403-1EA2-8E02-500FAF0AE773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NL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760F583-A6FD-7EB9-3DDB-5F2E3B1F9B4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CB0D5E7-C423-4EA0-B70F-02403CA658A0}" type="datetimeFigureOut">
              <a:rPr lang="nl-NL" smtClean="0"/>
              <a:t>6-7-2023</a:t>
            </a:fld>
            <a:endParaRPr lang="nl-NL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DFD2AA17-552D-8792-21EE-230CBA2C6D2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6C11C0D-AA44-D595-B5D5-279181E2224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A73797-73BA-483A-9A80-6766BB8907F8}" type="slidenum">
              <a:rPr lang="nl-NL" smtClean="0"/>
              <a:t>‹#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80299307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F6962EA-5713-2E96-7A51-F3BE790B10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nl-NL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B1C0D3B-1D33-73E9-C12C-611B4E1CE12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CB0D5E7-C423-4EA0-B70F-02403CA658A0}" type="datetimeFigureOut">
              <a:rPr lang="nl-NL" smtClean="0"/>
              <a:t>6-7-2023</a:t>
            </a:fld>
            <a:endParaRPr lang="nl-NL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9FBDA64-248A-0E9A-66F9-69912964B2A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97BA12D-7C57-4D9F-6C62-D1FA79B7D94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A73797-73BA-483A-9A80-6766BB8907F8}" type="slidenum">
              <a:rPr lang="nl-NL" smtClean="0"/>
              <a:t>‹#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73162346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4EF8ADAE-890A-E91F-934F-5038330C912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CB0D5E7-C423-4EA0-B70F-02403CA658A0}" type="datetimeFigureOut">
              <a:rPr lang="nl-NL" smtClean="0"/>
              <a:t>6-7-2023</a:t>
            </a:fld>
            <a:endParaRPr lang="nl-NL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2B56DDC-455E-B14A-F10F-06FDB391D94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977092F-5E65-7E5A-3DE4-F749AC9E490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A73797-73BA-483A-9A80-6766BB8907F8}" type="slidenum">
              <a:rPr lang="nl-NL" smtClean="0"/>
              <a:t>‹#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48605546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A5DD191-339E-1F35-E7C0-98CF154FEA3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nl-NL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C0E326C-0410-D4C8-080F-82611D272A0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NL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D2EBDD3-7191-9AE0-6A8C-142077A05C1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FC2AF8E-2DD1-E142-25B5-72048A72C34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CB0D5E7-C423-4EA0-B70F-02403CA658A0}" type="datetimeFigureOut">
              <a:rPr lang="nl-NL" smtClean="0"/>
              <a:t>6-7-2023</a:t>
            </a:fld>
            <a:endParaRPr lang="nl-NL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1BF927A-7EF8-38BE-A53A-3445C769BE9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DF9F87C-61B5-7885-1E1D-34A06935388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A73797-73BA-483A-9A80-6766BB8907F8}" type="slidenum">
              <a:rPr lang="nl-NL" smtClean="0"/>
              <a:t>‹#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24650433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8A2CB3-9971-D04E-A256-BF10311147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nl-NL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92BE2E26-B6CE-3278-0413-662A2B675B82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nl-NL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5CDB94F-3742-F918-0E34-82764BBAE7E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A374B13-7318-160D-C89B-AE51DEC8BF3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CB0D5E7-C423-4EA0-B70F-02403CA658A0}" type="datetimeFigureOut">
              <a:rPr lang="nl-NL" smtClean="0"/>
              <a:t>6-7-2023</a:t>
            </a:fld>
            <a:endParaRPr lang="nl-NL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E9582AB-31F0-1B4F-E124-3885B990C9D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6EAD987-2DE7-05EC-1FD8-CB050D1348E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A73797-73BA-483A-9A80-6766BB8907F8}" type="slidenum">
              <a:rPr lang="nl-NL" smtClean="0"/>
              <a:t>‹#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97720748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E9CD8EA4-B15B-4819-D7DB-FA57A05A5B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nl-NL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737AEA3-EA2B-DCF1-4472-880B35D322B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NL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1E7A7B-DC57-BA27-3AAB-440FC953D85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CB0D5E7-C423-4EA0-B70F-02403CA658A0}" type="datetimeFigureOut">
              <a:rPr lang="nl-NL" smtClean="0"/>
              <a:t>6-7-2023</a:t>
            </a:fld>
            <a:endParaRPr lang="nl-NL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160F223-28EE-5B39-F802-3626DD28C43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nl-NL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EFA14A6-122E-6E9D-DC56-EF5BD05D091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FA73797-73BA-483A-9A80-6766BB8907F8}" type="slidenum">
              <a:rPr lang="nl-NL" smtClean="0"/>
              <a:t>‹#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42051136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2" r:id="rId12"/>
    <p:sldLayoutId id="2147483663" r:id="rId13"/>
    <p:sldLayoutId id="2147483664" r:id="rId14"/>
    <p:sldLayoutId id="2147483665" r:id="rId15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l-N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3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.xml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4.xml"/><Relationship Id="rId6" Type="http://schemas.openxmlformats.org/officeDocument/2006/relationships/image" Target="../media/image27.emf"/><Relationship Id="rId5" Type="http://schemas.openxmlformats.org/officeDocument/2006/relationships/oleObject" Target="../embeddings/oleObject1.bin"/><Relationship Id="rId4" Type="http://schemas.openxmlformats.org/officeDocument/2006/relationships/image" Target="../media/image29.png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13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.xml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5.xml"/><Relationship Id="rId6" Type="http://schemas.openxmlformats.org/officeDocument/2006/relationships/image" Target="../media/image27.emf"/><Relationship Id="rId5" Type="http://schemas.openxmlformats.org/officeDocument/2006/relationships/oleObject" Target="../embeddings/oleObject1.bin"/><Relationship Id="rId4" Type="http://schemas.openxmlformats.org/officeDocument/2006/relationships/image" Target="../media/image29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36.png"/><Relationship Id="rId5" Type="http://schemas.openxmlformats.org/officeDocument/2006/relationships/image" Target="../media/image35.png"/><Relationship Id="rId4" Type="http://schemas.openxmlformats.org/officeDocument/2006/relationships/image" Target="../media/image34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3.xml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6.xml"/><Relationship Id="rId6" Type="http://schemas.openxmlformats.org/officeDocument/2006/relationships/image" Target="../media/image27.emf"/><Relationship Id="rId5" Type="http://schemas.openxmlformats.org/officeDocument/2006/relationships/oleObject" Target="../embeddings/oleObject1.bin"/><Relationship Id="rId4" Type="http://schemas.openxmlformats.org/officeDocument/2006/relationships/image" Target="../media/image29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4.xml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7.xml"/><Relationship Id="rId5" Type="http://schemas.openxmlformats.org/officeDocument/2006/relationships/image" Target="../media/image27.emf"/><Relationship Id="rId4" Type="http://schemas.openxmlformats.org/officeDocument/2006/relationships/oleObject" Target="../embeddings/oleObject1.bin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7" Type="http://schemas.openxmlformats.org/officeDocument/2006/relationships/image" Target="../media/image37.png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8.xml"/><Relationship Id="rId6" Type="http://schemas.openxmlformats.org/officeDocument/2006/relationships/image" Target="../media/image150.png"/><Relationship Id="rId5" Type="http://schemas.openxmlformats.org/officeDocument/2006/relationships/customXml" Target="../ink/ink1.xml"/><Relationship Id="rId4" Type="http://schemas.openxmlformats.org/officeDocument/2006/relationships/image" Target="../media/image27.emf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7" Type="http://schemas.openxmlformats.org/officeDocument/2006/relationships/image" Target="../media/image38.png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9.xml"/><Relationship Id="rId6" Type="http://schemas.openxmlformats.org/officeDocument/2006/relationships/image" Target="../media/image150.png"/><Relationship Id="rId5" Type="http://schemas.openxmlformats.org/officeDocument/2006/relationships/customXml" Target="../ink/ink2.xml"/><Relationship Id="rId4" Type="http://schemas.openxmlformats.org/officeDocument/2006/relationships/image" Target="../media/image27.emf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5.xml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10.xml"/><Relationship Id="rId6" Type="http://schemas.openxmlformats.org/officeDocument/2006/relationships/image" Target="../media/image27.emf"/><Relationship Id="rId5" Type="http://schemas.openxmlformats.org/officeDocument/2006/relationships/oleObject" Target="../embeddings/oleObject1.bin"/><Relationship Id="rId4" Type="http://schemas.openxmlformats.org/officeDocument/2006/relationships/image" Target="../media/image29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image" Target="../media/image9.gif"/><Relationship Id="rId7" Type="http://schemas.openxmlformats.org/officeDocument/2006/relationships/image" Target="../media/image13.sv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12.png"/><Relationship Id="rId5" Type="http://schemas.openxmlformats.org/officeDocument/2006/relationships/image" Target="../media/image11.svg"/><Relationship Id="rId10" Type="http://schemas.openxmlformats.org/officeDocument/2006/relationships/image" Target="../media/image1.png"/><Relationship Id="rId4" Type="http://schemas.openxmlformats.org/officeDocument/2006/relationships/image" Target="../media/image10.png"/><Relationship Id="rId9" Type="http://schemas.openxmlformats.org/officeDocument/2006/relationships/image" Target="../media/image15.sv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5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jpeg"/><Relationship Id="rId3" Type="http://schemas.openxmlformats.org/officeDocument/2006/relationships/image" Target="../media/image16.jpeg"/><Relationship Id="rId7" Type="http://schemas.openxmlformats.org/officeDocument/2006/relationships/image" Target="../media/image20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19.jpeg"/><Relationship Id="rId5" Type="http://schemas.openxmlformats.org/officeDocument/2006/relationships/image" Target="../media/image18.jpeg"/><Relationship Id="rId4" Type="http://schemas.openxmlformats.org/officeDocument/2006/relationships/image" Target="../media/image17.jpeg"/><Relationship Id="rId9" Type="http://schemas.openxmlformats.org/officeDocument/2006/relationships/image" Target="../media/image22.jpeg"/></Relationships>
</file>

<file path=ppt/slides/_rels/slide4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image" Target="../media/image2.jpeg"/><Relationship Id="rId7" Type="http://schemas.openxmlformats.org/officeDocument/2006/relationships/image" Target="../media/image26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25.jpg"/><Relationship Id="rId5" Type="http://schemas.openxmlformats.org/officeDocument/2006/relationships/image" Target="../media/image24.jpg"/><Relationship Id="rId4" Type="http://schemas.openxmlformats.org/officeDocument/2006/relationships/image" Target="../media/image23.jp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1.xml"/><Relationship Id="rId5" Type="http://schemas.openxmlformats.org/officeDocument/2006/relationships/image" Target="../media/image27.emf"/><Relationship Id="rId4" Type="http://schemas.openxmlformats.org/officeDocument/2006/relationships/oleObject" Target="../embeddings/oleObject1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7" Type="http://schemas.microsoft.com/office/2007/relationships/hdphoto" Target="../media/hdphoto2.wdp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2.xml"/><Relationship Id="rId6" Type="http://schemas.openxmlformats.org/officeDocument/2006/relationships/image" Target="../media/image28.png"/><Relationship Id="rId5" Type="http://schemas.openxmlformats.org/officeDocument/2006/relationships/image" Target="../media/image27.emf"/><Relationship Id="rId4" Type="http://schemas.openxmlformats.org/officeDocument/2006/relationships/oleObject" Target="../embeddings/oleObject1.bin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3.xml"/><Relationship Id="rId6" Type="http://schemas.openxmlformats.org/officeDocument/2006/relationships/image" Target="../media/image27.emf"/><Relationship Id="rId5" Type="http://schemas.openxmlformats.org/officeDocument/2006/relationships/oleObject" Target="../embeddings/oleObject1.bin"/><Relationship Id="rId4" Type="http://schemas.openxmlformats.org/officeDocument/2006/relationships/image" Target="../media/image29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tekst 2">
            <a:extLst>
              <a:ext uri="{FF2B5EF4-FFF2-40B4-BE49-F238E27FC236}">
                <a16:creationId xmlns:a16="http://schemas.microsoft.com/office/drawing/2014/main" id="{CB5AB11B-1C97-4328-BB6C-C7B7DBC9348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81038" y="2860124"/>
            <a:ext cx="5257800" cy="1127840"/>
          </a:xfrm>
        </p:spPr>
        <p:txBody>
          <a:bodyPr>
            <a:normAutofit/>
          </a:bodyPr>
          <a:lstStyle/>
          <a:p>
            <a:r>
              <a:rPr lang="en-US" sz="1800" i="1" dirty="0">
                <a:effectLst/>
                <a:latin typeface="Fieldwork 03 Geo Light"/>
                <a:ea typeface="Calibri" panose="020F0502020204030204" pitchFamily="34" charset="0"/>
                <a:cs typeface="Times New Roman" panose="02020603050405020304" pitchFamily="18" charset="0"/>
              </a:rPr>
              <a:t>A holistic simulation model to explore the availability and costs of military assets in the exploitation stage</a:t>
            </a: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56276F1A-519F-49B0-A512-A358A1F74DB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1041" y="1215476"/>
            <a:ext cx="5973432" cy="1480097"/>
          </a:xfrm>
        </p:spPr>
        <p:txBody>
          <a:bodyPr>
            <a:normAutofit/>
          </a:bodyPr>
          <a:lstStyle/>
          <a:p>
            <a:r>
              <a:rPr lang="nl-NL" sz="3600" dirty="0">
                <a:latin typeface="Fieldwork 06 Geo Bold" pitchFamily="50" charset="0"/>
              </a:rPr>
              <a:t>ADA model</a:t>
            </a:r>
          </a:p>
        </p:txBody>
      </p:sp>
    </p:spTree>
    <p:extLst>
      <p:ext uri="{BB962C8B-B14F-4D97-AF65-F5344CB8AC3E}">
        <p14:creationId xmlns:p14="http://schemas.microsoft.com/office/powerpoint/2010/main" val="216096941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01B43D7A-1005-8D92-0DBE-76DB07524FCF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723898" y="1534486"/>
            <a:ext cx="6219643" cy="4317471"/>
          </a:xfrm>
        </p:spPr>
        <p:txBody>
          <a:bodyPr/>
          <a:lstStyle/>
          <a:p>
            <a:pPr indent="0">
              <a:buNone/>
            </a:pPr>
            <a:endParaRPr lang="nl-NL" dirty="0"/>
          </a:p>
          <a:p>
            <a:pPr indent="0">
              <a:buNone/>
            </a:pPr>
            <a:endParaRPr lang="nl-NL" dirty="0"/>
          </a:p>
          <a:p>
            <a:pPr indent="0">
              <a:buNone/>
            </a:pPr>
            <a:endParaRPr lang="nl-NL" dirty="0"/>
          </a:p>
          <a:p>
            <a:pPr indent="0">
              <a:buNone/>
            </a:pPr>
            <a:endParaRPr lang="nl-NL" dirty="0"/>
          </a:p>
          <a:p>
            <a:pPr indent="0">
              <a:buNone/>
            </a:pPr>
            <a:endParaRPr lang="nl-NL" dirty="0"/>
          </a:p>
          <a:p>
            <a:pPr indent="0">
              <a:buNone/>
            </a:pPr>
            <a:endParaRPr lang="nl-NL" dirty="0"/>
          </a:p>
          <a:p>
            <a:pPr indent="0">
              <a:buNone/>
            </a:pPr>
            <a:endParaRPr lang="nl-NL" dirty="0"/>
          </a:p>
          <a:p>
            <a:pPr indent="0">
              <a:buNone/>
            </a:pPr>
            <a:endParaRPr lang="nl-NL" dirty="0"/>
          </a:p>
          <a:p>
            <a:pPr indent="0">
              <a:buNone/>
            </a:pPr>
            <a:endParaRPr lang="nl-NL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B608CAA9-2066-5446-BC6B-C6A82A92999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3898" y="713882"/>
            <a:ext cx="9563102" cy="746619"/>
          </a:xfrm>
        </p:spPr>
        <p:txBody>
          <a:bodyPr>
            <a:noAutofit/>
          </a:bodyPr>
          <a:lstStyle/>
          <a:p>
            <a:r>
              <a:rPr lang="nl-NL" dirty="0">
                <a:latin typeface="Fieldwork 06 Geo Bold"/>
              </a:rPr>
              <a:t>Support system &amp; </a:t>
            </a:r>
            <a:r>
              <a:rPr lang="nl-NL" dirty="0" err="1">
                <a:latin typeface="Fieldwork 06 Geo Bold"/>
              </a:rPr>
              <a:t>Usage</a:t>
            </a:r>
            <a:r>
              <a:rPr lang="nl-NL" dirty="0">
                <a:latin typeface="Fieldwork 06 Geo Bold"/>
              </a:rPr>
              <a:t> pla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5D1510C-57F1-B42C-615D-25319DEB9F21}"/>
              </a:ext>
            </a:extLst>
          </p:cNvPr>
          <p:cNvSpPr txBox="1">
            <a:spLocks/>
          </p:cNvSpPr>
          <p:nvPr/>
        </p:nvSpPr>
        <p:spPr>
          <a:xfrm>
            <a:off x="838200" y="1792780"/>
            <a:ext cx="10515600" cy="4351338"/>
          </a:xfrm>
          <a:prstGeom prst="rect">
            <a:avLst/>
          </a:prstGeom>
        </p:spPr>
        <p:txBody>
          <a:bodyPr>
            <a:normAutofit lnSpcReduction="1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1450" indent="-171450"/>
            <a:r>
              <a:rPr lang="nl-NL" dirty="0"/>
              <a:t> </a:t>
            </a:r>
            <a:r>
              <a:rPr lang="nl-NL" dirty="0">
                <a:latin typeface="Fieldwork 03 Geo Light"/>
              </a:rPr>
              <a:t>Support system: </a:t>
            </a:r>
            <a:r>
              <a:rPr lang="nl-NL" dirty="0" err="1">
                <a:latin typeface="Fieldwork 03 Geo Light"/>
              </a:rPr>
              <a:t>how</a:t>
            </a:r>
            <a:r>
              <a:rPr lang="nl-NL" dirty="0">
                <a:latin typeface="Fieldwork 03 Geo Light"/>
              </a:rPr>
              <a:t> is </a:t>
            </a:r>
            <a:r>
              <a:rPr lang="nl-NL" dirty="0" err="1">
                <a:latin typeface="Fieldwork 03 Geo Light"/>
              </a:rPr>
              <a:t>the</a:t>
            </a:r>
            <a:r>
              <a:rPr lang="nl-NL" dirty="0">
                <a:latin typeface="Fieldwork 03 Geo Light"/>
              </a:rPr>
              <a:t> </a:t>
            </a:r>
            <a:r>
              <a:rPr lang="nl-NL" dirty="0" err="1">
                <a:latin typeface="Fieldwork 03 Geo Light"/>
              </a:rPr>
              <a:t>ship</a:t>
            </a:r>
            <a:r>
              <a:rPr lang="nl-NL" dirty="0">
                <a:latin typeface="Fieldwork 03 Geo Light"/>
              </a:rPr>
              <a:t> </a:t>
            </a:r>
            <a:r>
              <a:rPr lang="nl-NL" dirty="0" err="1">
                <a:latin typeface="Fieldwork 03 Geo Light"/>
              </a:rPr>
              <a:t>maintained</a:t>
            </a:r>
            <a:r>
              <a:rPr lang="nl-NL" dirty="0">
                <a:latin typeface="Fieldwork 03 Geo Light"/>
              </a:rPr>
              <a:t>?</a:t>
            </a:r>
          </a:p>
          <a:p>
            <a:pPr marL="628650" lvl="1" indent="-171450"/>
            <a:r>
              <a:rPr lang="nl-NL" dirty="0">
                <a:latin typeface="Fieldwork 03 Geo Light"/>
              </a:rPr>
              <a:t>Budget </a:t>
            </a:r>
            <a:r>
              <a:rPr lang="nl-NL" dirty="0" err="1">
                <a:latin typeface="Fieldwork 03 Geo Light"/>
              </a:rPr>
              <a:t>allocation</a:t>
            </a:r>
            <a:endParaRPr lang="nl-NL" dirty="0">
              <a:latin typeface="Fieldwork 03 Geo Light"/>
            </a:endParaRPr>
          </a:p>
          <a:p>
            <a:pPr marL="628650" lvl="1" indent="-171450"/>
            <a:r>
              <a:rPr lang="nl-NL" dirty="0">
                <a:latin typeface="Fieldwork 03 Geo Light"/>
              </a:rPr>
              <a:t>Maintenance </a:t>
            </a:r>
            <a:r>
              <a:rPr lang="nl-NL" dirty="0" err="1">
                <a:latin typeface="Fieldwork 03 Geo Light"/>
              </a:rPr>
              <a:t>during</a:t>
            </a:r>
            <a:r>
              <a:rPr lang="nl-NL" dirty="0">
                <a:latin typeface="Fieldwork 03 Geo Light"/>
              </a:rPr>
              <a:t> </a:t>
            </a:r>
            <a:r>
              <a:rPr lang="nl-NL" dirty="0" err="1">
                <a:latin typeface="Fieldwork 03 Geo Light"/>
              </a:rPr>
              <a:t>operation</a:t>
            </a:r>
            <a:r>
              <a:rPr lang="nl-NL" dirty="0">
                <a:latin typeface="Fieldwork 03 Geo Light"/>
              </a:rPr>
              <a:t>?</a:t>
            </a:r>
          </a:p>
          <a:p>
            <a:pPr marL="628650" lvl="1" indent="-171450"/>
            <a:r>
              <a:rPr lang="nl-NL" dirty="0">
                <a:latin typeface="Fieldwork 03 Geo Light"/>
              </a:rPr>
              <a:t>Spare </a:t>
            </a:r>
            <a:r>
              <a:rPr lang="nl-NL" dirty="0" err="1">
                <a:latin typeface="Fieldwork 03 Geo Light"/>
              </a:rPr>
              <a:t>parts</a:t>
            </a:r>
            <a:r>
              <a:rPr lang="nl-NL" dirty="0">
                <a:latin typeface="Fieldwork 03 Geo Light"/>
              </a:rPr>
              <a:t> stock?</a:t>
            </a:r>
          </a:p>
          <a:p>
            <a:pPr marL="628650" lvl="1" indent="-171450"/>
            <a:r>
              <a:rPr lang="nl-NL" dirty="0">
                <a:latin typeface="Fieldwork 03 Geo Light"/>
              </a:rPr>
              <a:t>Interval large maintenance?</a:t>
            </a:r>
          </a:p>
          <a:p>
            <a:pPr marL="628650" lvl="1" indent="-171450"/>
            <a:r>
              <a:rPr lang="nl-NL" dirty="0" err="1">
                <a:latin typeface="Fieldwork 03 Geo Light"/>
              </a:rPr>
              <a:t>Workforce</a:t>
            </a:r>
            <a:r>
              <a:rPr lang="nl-NL" dirty="0">
                <a:latin typeface="Fieldwork 03 Geo Light"/>
              </a:rPr>
              <a:t> </a:t>
            </a:r>
            <a:r>
              <a:rPr lang="nl-NL" dirty="0" err="1">
                <a:latin typeface="Fieldwork 03 Geo Light"/>
              </a:rPr>
              <a:t>characteristics</a:t>
            </a:r>
            <a:r>
              <a:rPr lang="nl-NL" dirty="0">
                <a:latin typeface="Fieldwork 03 Geo Light"/>
              </a:rPr>
              <a:t> (</a:t>
            </a:r>
            <a:r>
              <a:rPr lang="nl-NL" dirty="0" err="1">
                <a:latin typeface="Fieldwork 03 Geo Light"/>
              </a:rPr>
              <a:t>capacity</a:t>
            </a:r>
            <a:r>
              <a:rPr lang="nl-NL" dirty="0">
                <a:latin typeface="Fieldwork 03 Geo Light"/>
              </a:rPr>
              <a:t>, </a:t>
            </a:r>
            <a:r>
              <a:rPr lang="nl-NL" dirty="0" err="1">
                <a:latin typeface="Fieldwork 03 Geo Light"/>
              </a:rPr>
              <a:t>education</a:t>
            </a:r>
            <a:r>
              <a:rPr lang="nl-NL" dirty="0">
                <a:latin typeface="Fieldwork 03 Geo Light"/>
              </a:rPr>
              <a:t> level, etc.)</a:t>
            </a:r>
          </a:p>
          <a:p>
            <a:pPr marL="171450" indent="-171450"/>
            <a:endParaRPr lang="nl-NL" dirty="0">
              <a:latin typeface="Fieldwork 03 Geo Light"/>
            </a:endParaRPr>
          </a:p>
          <a:p>
            <a:pPr marL="171450" indent="-171450"/>
            <a:r>
              <a:rPr lang="nl-NL" dirty="0">
                <a:latin typeface="Fieldwork 03 Geo Light"/>
              </a:rPr>
              <a:t> </a:t>
            </a:r>
            <a:r>
              <a:rPr lang="nl-NL" dirty="0" err="1">
                <a:latin typeface="Fieldwork 03 Geo Light"/>
              </a:rPr>
              <a:t>Usage</a:t>
            </a:r>
            <a:r>
              <a:rPr lang="nl-NL" dirty="0">
                <a:latin typeface="Fieldwork 03 Geo Light"/>
              </a:rPr>
              <a:t> plan: </a:t>
            </a:r>
            <a:r>
              <a:rPr lang="nl-NL" dirty="0" err="1">
                <a:latin typeface="Fieldwork 03 Geo Light"/>
              </a:rPr>
              <a:t>how</a:t>
            </a:r>
            <a:r>
              <a:rPr lang="nl-NL" dirty="0">
                <a:latin typeface="Fieldwork 03 Geo Light"/>
              </a:rPr>
              <a:t> </a:t>
            </a:r>
            <a:r>
              <a:rPr lang="nl-NL" dirty="0" err="1">
                <a:latin typeface="Fieldwork 03 Geo Light"/>
              </a:rPr>
              <a:t>will</a:t>
            </a:r>
            <a:r>
              <a:rPr lang="nl-NL" dirty="0">
                <a:latin typeface="Fieldwork 03 Geo Light"/>
              </a:rPr>
              <a:t> </a:t>
            </a:r>
            <a:r>
              <a:rPr lang="nl-NL" dirty="0" err="1">
                <a:latin typeface="Fieldwork 03 Geo Light"/>
              </a:rPr>
              <a:t>the</a:t>
            </a:r>
            <a:r>
              <a:rPr lang="nl-NL" dirty="0">
                <a:latin typeface="Fieldwork 03 Geo Light"/>
              </a:rPr>
              <a:t> </a:t>
            </a:r>
            <a:r>
              <a:rPr lang="nl-NL" dirty="0" err="1">
                <a:latin typeface="Fieldwork 03 Geo Light"/>
              </a:rPr>
              <a:t>ship</a:t>
            </a:r>
            <a:r>
              <a:rPr lang="nl-NL" dirty="0">
                <a:latin typeface="Fieldwork 03 Geo Light"/>
              </a:rPr>
              <a:t> </a:t>
            </a:r>
            <a:r>
              <a:rPr lang="nl-NL" dirty="0" err="1">
                <a:latin typeface="Fieldwork 03 Geo Light"/>
              </a:rPr>
              <a:t>be</a:t>
            </a:r>
            <a:r>
              <a:rPr lang="nl-NL" dirty="0">
                <a:latin typeface="Fieldwork 03 Geo Light"/>
              </a:rPr>
              <a:t> </a:t>
            </a:r>
            <a:r>
              <a:rPr lang="nl-NL" dirty="0" err="1">
                <a:latin typeface="Fieldwork 03 Geo Light"/>
              </a:rPr>
              <a:t>used</a:t>
            </a:r>
            <a:r>
              <a:rPr lang="nl-NL" dirty="0">
                <a:latin typeface="Fieldwork 03 Geo Light"/>
              </a:rPr>
              <a:t>?</a:t>
            </a:r>
          </a:p>
          <a:p>
            <a:pPr marL="628650" lvl="1" indent="-171450"/>
            <a:r>
              <a:rPr lang="nl-NL" dirty="0" err="1">
                <a:latin typeface="Fieldwork 03 Geo Light"/>
              </a:rPr>
              <a:t>What</a:t>
            </a:r>
            <a:r>
              <a:rPr lang="nl-NL" dirty="0">
                <a:latin typeface="Fieldwork 03 Geo Light"/>
              </a:rPr>
              <a:t> type of area? </a:t>
            </a:r>
          </a:p>
          <a:p>
            <a:pPr marL="628650" lvl="1" indent="-171450"/>
            <a:r>
              <a:rPr lang="nl-NL" dirty="0" err="1">
                <a:latin typeface="Fieldwork 03 Geo Light"/>
              </a:rPr>
              <a:t>What</a:t>
            </a:r>
            <a:r>
              <a:rPr lang="nl-NL" dirty="0">
                <a:latin typeface="Fieldwork 03 Geo Light"/>
              </a:rPr>
              <a:t> type of </a:t>
            </a:r>
            <a:r>
              <a:rPr lang="nl-NL" dirty="0" err="1">
                <a:latin typeface="Fieldwork 03 Geo Light"/>
              </a:rPr>
              <a:t>activities</a:t>
            </a:r>
            <a:r>
              <a:rPr lang="nl-NL" dirty="0">
                <a:latin typeface="Fieldwork 03 Geo Light"/>
              </a:rPr>
              <a:t> </a:t>
            </a:r>
            <a:r>
              <a:rPr lang="nl-NL" dirty="0" err="1">
                <a:latin typeface="Fieldwork 03 Geo Light"/>
              </a:rPr>
              <a:t>during</a:t>
            </a:r>
            <a:r>
              <a:rPr lang="nl-NL" dirty="0">
                <a:latin typeface="Fieldwork 03 Geo Light"/>
              </a:rPr>
              <a:t> </a:t>
            </a:r>
            <a:r>
              <a:rPr lang="nl-NL" dirty="0" err="1">
                <a:latin typeface="Fieldwork 03 Geo Light"/>
              </a:rPr>
              <a:t>operation</a:t>
            </a:r>
            <a:r>
              <a:rPr lang="nl-NL" dirty="0">
                <a:latin typeface="Fieldwork 03 Geo Light"/>
              </a:rPr>
              <a:t>?</a:t>
            </a:r>
          </a:p>
          <a:p>
            <a:pPr marL="628650" lvl="1" indent="-171450"/>
            <a:r>
              <a:rPr lang="nl-NL" dirty="0" err="1">
                <a:latin typeface="Fieldwork 03 Geo Light"/>
              </a:rPr>
              <a:t>Expected</a:t>
            </a:r>
            <a:r>
              <a:rPr lang="nl-NL" dirty="0">
                <a:latin typeface="Fieldwork 03 Geo Light"/>
              </a:rPr>
              <a:t> lead time of operations?</a:t>
            </a:r>
          </a:p>
          <a:p>
            <a:pPr marL="171450" indent="-171450"/>
            <a:endParaRPr lang="nl-NL" dirty="0"/>
          </a:p>
          <a:p>
            <a:pPr marL="171450" indent="-171450"/>
            <a:endParaRPr lang="nl-NL" dirty="0"/>
          </a:p>
          <a:p>
            <a:pPr marL="0" indent="0">
              <a:buNone/>
            </a:pPr>
            <a:endParaRPr lang="nl-NL" dirty="0"/>
          </a:p>
          <a:p>
            <a:pPr marL="171450" indent="-171450"/>
            <a:endParaRPr lang="nl-NL" dirty="0"/>
          </a:p>
          <a:p>
            <a:pPr marL="171450" indent="-171450"/>
            <a:endParaRPr lang="nl-NL" dirty="0"/>
          </a:p>
          <a:p>
            <a:pPr marL="171450" indent="-171450"/>
            <a:endParaRPr lang="nl-NL" dirty="0"/>
          </a:p>
          <a:p>
            <a:pPr marL="171450" indent="-171450"/>
            <a:endParaRPr lang="nl-NL" dirty="0"/>
          </a:p>
          <a:p>
            <a:pPr marL="171450" indent="-171450"/>
            <a:endParaRPr lang="nl-NL" b="0" dirty="0"/>
          </a:p>
          <a:p>
            <a:pPr marL="171450" indent="-171450"/>
            <a:endParaRPr lang="nl-NL" dirty="0"/>
          </a:p>
          <a:p>
            <a:pPr marL="171450" indent="-171450"/>
            <a:endParaRPr lang="nl-NL" sz="2800" dirty="0"/>
          </a:p>
          <a:p>
            <a:pPr marL="628650" lvl="1" indent="-171450"/>
            <a:endParaRPr lang="nl-NL" dirty="0"/>
          </a:p>
          <a:p>
            <a:pPr>
              <a:lnSpc>
                <a:spcPct val="100000"/>
              </a:lnSpc>
            </a:pPr>
            <a:endParaRPr lang="nl-NL" i="1" dirty="0"/>
          </a:p>
          <a:p>
            <a:pPr>
              <a:lnSpc>
                <a:spcPct val="100000"/>
              </a:lnSpc>
            </a:pPr>
            <a:endParaRPr lang="nl-NL" i="1" dirty="0"/>
          </a:p>
        </p:txBody>
      </p:sp>
    </p:spTree>
    <p:extLst>
      <p:ext uri="{BB962C8B-B14F-4D97-AF65-F5344CB8AC3E}">
        <p14:creationId xmlns:p14="http://schemas.microsoft.com/office/powerpoint/2010/main" val="62031309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53416F4E-3AAD-356B-7AD7-CF07450B50A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36064" y="1716089"/>
            <a:ext cx="9050920" cy="4880663"/>
          </a:xfrm>
          <a:prstGeom prst="rect">
            <a:avLst/>
          </a:prstGeom>
        </p:spPr>
      </p:pic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4CB9638D-ECED-41AB-BB13-7783F77090B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4CB9638D-ECED-41AB-BB13-7783F77090B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el 3">
            <a:extLst>
              <a:ext uri="{FF2B5EF4-FFF2-40B4-BE49-F238E27FC236}">
                <a16:creationId xmlns:a16="http://schemas.microsoft.com/office/drawing/2014/main" id="{49EF1491-38AF-46FA-B46A-10987DFC7D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nl-NL" dirty="0">
                <a:latin typeface="Fieldwork 06 Geo Bold"/>
              </a:rPr>
              <a:t>Process diagram</a:t>
            </a:r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56C0CA39-5A82-C711-A2D9-5A1A77747630}"/>
              </a:ext>
            </a:extLst>
          </p:cNvPr>
          <p:cNvSpPr txBox="1">
            <a:spLocks/>
          </p:cNvSpPr>
          <p:nvPr/>
        </p:nvSpPr>
        <p:spPr>
          <a:xfrm>
            <a:off x="723898" y="1792779"/>
            <a:ext cx="10515600" cy="4268155"/>
          </a:xfrm>
          <a:prstGeom prst="rect">
            <a:avLst/>
          </a:prstGeom>
        </p:spPr>
        <p:txBody>
          <a:bodyPr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57200" lvl="1" indent="0">
              <a:buNone/>
            </a:pPr>
            <a:endParaRPr lang="nl-NL" sz="2000" b="1" dirty="0"/>
          </a:p>
          <a:p>
            <a:pPr marL="0" indent="0">
              <a:buNone/>
            </a:pPr>
            <a:endParaRPr lang="nl-NL" sz="2400" b="1" dirty="0"/>
          </a:p>
          <a:p>
            <a:pPr marL="0" indent="0">
              <a:buNone/>
            </a:pPr>
            <a:endParaRPr lang="nl-NL" sz="2400" b="1" dirty="0"/>
          </a:p>
          <a:p>
            <a:pPr marL="0" indent="0">
              <a:buNone/>
            </a:pPr>
            <a:endParaRPr lang="nl-NL" sz="2400" b="1" dirty="0"/>
          </a:p>
          <a:p>
            <a:pPr marL="0" indent="0">
              <a:buNone/>
            </a:pPr>
            <a:endParaRPr lang="nl-NL" sz="2800" dirty="0"/>
          </a:p>
          <a:p>
            <a:pPr>
              <a:lnSpc>
                <a:spcPct val="100000"/>
              </a:lnSpc>
            </a:pPr>
            <a:endParaRPr lang="nl-NL" i="1" dirty="0"/>
          </a:p>
          <a:p>
            <a:pPr>
              <a:lnSpc>
                <a:spcPct val="100000"/>
              </a:lnSpc>
            </a:pPr>
            <a:endParaRPr lang="nl-NL" i="1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8DF76C8D-1CA4-4BEE-E01E-E8D65812771E}"/>
              </a:ext>
            </a:extLst>
          </p:cNvPr>
          <p:cNvSpPr/>
          <p:nvPr/>
        </p:nvSpPr>
        <p:spPr>
          <a:xfrm>
            <a:off x="7565457" y="1716089"/>
            <a:ext cx="2121527" cy="1325562"/>
          </a:xfrm>
          <a:prstGeom prst="rect">
            <a:avLst/>
          </a:prstGeom>
          <a:noFill/>
          <a:ln w="571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56364FC0-F7E8-F4BA-EA5E-96F8F3EF2E56}"/>
              </a:ext>
            </a:extLst>
          </p:cNvPr>
          <p:cNvSpPr/>
          <p:nvPr/>
        </p:nvSpPr>
        <p:spPr>
          <a:xfrm>
            <a:off x="7565457" y="4963437"/>
            <a:ext cx="1953929" cy="654709"/>
          </a:xfrm>
          <a:prstGeom prst="rect">
            <a:avLst/>
          </a:prstGeom>
          <a:noFill/>
          <a:ln w="571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26126732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2" grpId="0" animBg="1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91C24E91-DF0F-455C-2A2E-105E199909E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>
                <a:latin typeface="Fieldwork 06 Geo Bold"/>
              </a:rPr>
              <a:t>Parameters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CE8EF476-93CC-CB70-2C70-DFF4A8FC82D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922186" y="369794"/>
            <a:ext cx="6762951" cy="64882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7480148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FEDF8A5A-D0D5-2A43-7969-137D28355D6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75930" y="1538779"/>
            <a:ext cx="9050920" cy="4880663"/>
          </a:xfrm>
          <a:prstGeom prst="rect">
            <a:avLst/>
          </a:prstGeom>
        </p:spPr>
      </p:pic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4CB9638D-ECED-41AB-BB13-7783F77090B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4CB9638D-ECED-41AB-BB13-7783F77090B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el 3">
            <a:extLst>
              <a:ext uri="{FF2B5EF4-FFF2-40B4-BE49-F238E27FC236}">
                <a16:creationId xmlns:a16="http://schemas.microsoft.com/office/drawing/2014/main" id="{49EF1491-38AF-46FA-B46A-10987DFC7D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nl-NL" dirty="0">
                <a:latin typeface="Fieldwork 06 Geo Bold"/>
              </a:rPr>
              <a:t>Process diagram</a:t>
            </a:r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56C0CA39-5A82-C711-A2D9-5A1A77747630}"/>
              </a:ext>
            </a:extLst>
          </p:cNvPr>
          <p:cNvSpPr txBox="1">
            <a:spLocks/>
          </p:cNvSpPr>
          <p:nvPr/>
        </p:nvSpPr>
        <p:spPr>
          <a:xfrm>
            <a:off x="723898" y="1792779"/>
            <a:ext cx="10515600" cy="4268155"/>
          </a:xfrm>
          <a:prstGeom prst="rect">
            <a:avLst/>
          </a:prstGeom>
        </p:spPr>
        <p:txBody>
          <a:bodyPr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57200" lvl="1" indent="0">
              <a:buNone/>
            </a:pPr>
            <a:endParaRPr lang="nl-NL" sz="2000" b="1" dirty="0"/>
          </a:p>
          <a:p>
            <a:pPr marL="0" indent="0">
              <a:buNone/>
            </a:pPr>
            <a:endParaRPr lang="nl-NL" sz="2400" b="1" dirty="0"/>
          </a:p>
          <a:p>
            <a:pPr marL="0" indent="0">
              <a:buNone/>
            </a:pPr>
            <a:endParaRPr lang="nl-NL" sz="2400" b="1" dirty="0"/>
          </a:p>
          <a:p>
            <a:pPr marL="0" indent="0">
              <a:buNone/>
            </a:pPr>
            <a:endParaRPr lang="nl-NL" sz="2400" b="1" dirty="0"/>
          </a:p>
          <a:p>
            <a:pPr marL="0" indent="0">
              <a:buNone/>
            </a:pPr>
            <a:endParaRPr lang="nl-NL" sz="2800" dirty="0"/>
          </a:p>
          <a:p>
            <a:pPr>
              <a:lnSpc>
                <a:spcPct val="100000"/>
              </a:lnSpc>
            </a:pPr>
            <a:endParaRPr lang="nl-NL" i="1" dirty="0"/>
          </a:p>
          <a:p>
            <a:pPr>
              <a:lnSpc>
                <a:spcPct val="100000"/>
              </a:lnSpc>
            </a:pPr>
            <a:endParaRPr lang="nl-NL" i="1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8DF76C8D-1CA4-4BEE-E01E-E8D65812771E}"/>
              </a:ext>
            </a:extLst>
          </p:cNvPr>
          <p:cNvSpPr/>
          <p:nvPr/>
        </p:nvSpPr>
        <p:spPr>
          <a:xfrm>
            <a:off x="7712564" y="3549650"/>
            <a:ext cx="1915428" cy="1238276"/>
          </a:xfrm>
          <a:prstGeom prst="rect">
            <a:avLst/>
          </a:prstGeom>
          <a:noFill/>
          <a:ln w="571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44780144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BC4A93BE-634C-757D-6B09-951A411ACCE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4474" y="738519"/>
            <a:ext cx="8207033" cy="746619"/>
          </a:xfrm>
        </p:spPr>
        <p:txBody>
          <a:bodyPr/>
          <a:lstStyle/>
          <a:p>
            <a:r>
              <a:rPr lang="nl-NL" dirty="0">
                <a:latin typeface="Fieldwork 06 Geo Bold"/>
              </a:rPr>
              <a:t>ADA model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696FDC71-E1FF-72D6-F86B-8FA58D17404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578350" y="3129297"/>
            <a:ext cx="6606278" cy="1042762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E27F790F-554C-730E-4ACB-06744E5D675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27897" y="1644651"/>
            <a:ext cx="8187093" cy="3741736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D6457DB5-63FF-A835-941F-4D498FC5CCB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212452" y="3261464"/>
            <a:ext cx="10306448" cy="3079104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E97DA89C-7FED-005A-9CBC-4565450632D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810404" y="1408113"/>
            <a:ext cx="9169144" cy="5340332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994A8CC7-977F-6B25-DF89-1342D4211FE3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810404" y="458038"/>
            <a:ext cx="8738706" cy="62904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4602614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D969EFD7-3BE2-4169-1606-B51A88182BE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90230" y="1583229"/>
            <a:ext cx="9050920" cy="4880663"/>
          </a:xfrm>
          <a:prstGeom prst="rect">
            <a:avLst/>
          </a:prstGeom>
        </p:spPr>
      </p:pic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4CB9638D-ECED-41AB-BB13-7783F77090B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4CB9638D-ECED-41AB-BB13-7783F77090B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el 3">
            <a:extLst>
              <a:ext uri="{FF2B5EF4-FFF2-40B4-BE49-F238E27FC236}">
                <a16:creationId xmlns:a16="http://schemas.microsoft.com/office/drawing/2014/main" id="{49EF1491-38AF-46FA-B46A-10987DFC7D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nl-NL" dirty="0">
                <a:latin typeface="Fieldwork 06 Geo Bold"/>
              </a:rPr>
              <a:t>Process</a:t>
            </a:r>
            <a:r>
              <a:rPr lang="nl-NL" i="1" dirty="0">
                <a:latin typeface="Fieldwork 06 Geo Bold"/>
              </a:rPr>
              <a:t> </a:t>
            </a:r>
            <a:r>
              <a:rPr lang="nl-NL" dirty="0">
                <a:latin typeface="Fieldwork 06 Geo Bold"/>
              </a:rPr>
              <a:t>diagram</a:t>
            </a:r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56C0CA39-5A82-C711-A2D9-5A1A77747630}"/>
              </a:ext>
            </a:extLst>
          </p:cNvPr>
          <p:cNvSpPr txBox="1">
            <a:spLocks/>
          </p:cNvSpPr>
          <p:nvPr/>
        </p:nvSpPr>
        <p:spPr>
          <a:xfrm>
            <a:off x="723898" y="1792779"/>
            <a:ext cx="10515600" cy="4268155"/>
          </a:xfrm>
          <a:prstGeom prst="rect">
            <a:avLst/>
          </a:prstGeom>
        </p:spPr>
        <p:txBody>
          <a:bodyPr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57200" lvl="1" indent="0">
              <a:buNone/>
            </a:pPr>
            <a:endParaRPr lang="nl-NL" sz="2000" b="1" dirty="0"/>
          </a:p>
          <a:p>
            <a:pPr marL="0" indent="0">
              <a:buNone/>
            </a:pPr>
            <a:endParaRPr lang="nl-NL" sz="2400" b="1" dirty="0"/>
          </a:p>
          <a:p>
            <a:pPr marL="0" indent="0">
              <a:buNone/>
            </a:pPr>
            <a:endParaRPr lang="nl-NL" sz="2400" b="1" dirty="0"/>
          </a:p>
          <a:p>
            <a:pPr marL="0" indent="0">
              <a:buNone/>
            </a:pPr>
            <a:endParaRPr lang="nl-NL" sz="2400" b="1" dirty="0"/>
          </a:p>
          <a:p>
            <a:pPr marL="0" indent="0">
              <a:buNone/>
            </a:pPr>
            <a:endParaRPr lang="nl-NL" sz="2800" dirty="0"/>
          </a:p>
          <a:p>
            <a:pPr>
              <a:lnSpc>
                <a:spcPct val="100000"/>
              </a:lnSpc>
            </a:pPr>
            <a:endParaRPr lang="nl-NL" i="1" dirty="0"/>
          </a:p>
          <a:p>
            <a:pPr>
              <a:lnSpc>
                <a:spcPct val="100000"/>
              </a:lnSpc>
            </a:pPr>
            <a:endParaRPr lang="nl-NL" i="1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8DF76C8D-1CA4-4BEE-E01E-E8D65812771E}"/>
              </a:ext>
            </a:extLst>
          </p:cNvPr>
          <p:cNvSpPr/>
          <p:nvPr/>
        </p:nvSpPr>
        <p:spPr>
          <a:xfrm>
            <a:off x="4286606" y="3614152"/>
            <a:ext cx="1915428" cy="1238276"/>
          </a:xfrm>
          <a:prstGeom prst="rect">
            <a:avLst/>
          </a:prstGeom>
          <a:noFill/>
          <a:ln w="571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32422186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4CB9638D-ECED-41AB-BB13-7783F77090B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4CB9638D-ECED-41AB-BB13-7783F77090B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el 3">
            <a:extLst>
              <a:ext uri="{FF2B5EF4-FFF2-40B4-BE49-F238E27FC236}">
                <a16:creationId xmlns:a16="http://schemas.microsoft.com/office/drawing/2014/main" id="{49EF1491-38AF-46FA-B46A-10987DFC7D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38412" y="713882"/>
            <a:ext cx="9250138" cy="746619"/>
          </a:xfrm>
        </p:spPr>
        <p:txBody>
          <a:bodyPr vert="horz">
            <a:normAutofit/>
          </a:bodyPr>
          <a:lstStyle/>
          <a:p>
            <a:r>
              <a:rPr lang="nl-NL" dirty="0" err="1">
                <a:latin typeface="Fieldwork 06 Geo Bold"/>
              </a:rPr>
              <a:t>Robust</a:t>
            </a:r>
            <a:r>
              <a:rPr lang="nl-NL" dirty="0">
                <a:latin typeface="Fieldwork 06 Geo Bold"/>
              </a:rPr>
              <a:t> Decision-Making (</a:t>
            </a:r>
            <a:r>
              <a:rPr lang="nl-NL" dirty="0" err="1">
                <a:latin typeface="Fieldwork 06 Geo Bold"/>
              </a:rPr>
              <a:t>Lempert</a:t>
            </a:r>
            <a:r>
              <a:rPr lang="nl-NL" dirty="0">
                <a:latin typeface="Fieldwork 06 Geo Bold"/>
              </a:rPr>
              <a:t> et al., 2006)</a:t>
            </a:r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D249895E-6873-348F-04C6-1D938AFCDD10}"/>
              </a:ext>
            </a:extLst>
          </p:cNvPr>
          <p:cNvSpPr txBox="1">
            <a:spLocks/>
          </p:cNvSpPr>
          <p:nvPr/>
        </p:nvSpPr>
        <p:spPr>
          <a:xfrm>
            <a:off x="838200" y="1792780"/>
            <a:ext cx="10515600" cy="4351338"/>
          </a:xfrm>
          <a:prstGeom prst="rect">
            <a:avLst/>
          </a:prstGeom>
        </p:spPr>
        <p:txBody>
          <a:bodyPr>
            <a:normAutofit fontScale="92500" lnSpcReduction="2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514350" indent="-514350">
              <a:buFont typeface="+mj-lt"/>
              <a:buAutoNum type="arabicPeriod"/>
            </a:pPr>
            <a:endParaRPr lang="nl-NL" dirty="0"/>
          </a:p>
          <a:p>
            <a:pPr marL="514350" indent="-514350">
              <a:buFont typeface="+mj-lt"/>
              <a:buAutoNum type="arabicPeriod"/>
            </a:pPr>
            <a:r>
              <a:rPr lang="nl-NL" dirty="0" err="1">
                <a:latin typeface="Fieldwork 03 Geo Light"/>
              </a:rPr>
              <a:t>Specify</a:t>
            </a:r>
            <a:r>
              <a:rPr lang="nl-NL" dirty="0">
                <a:latin typeface="Fieldwork 03 Geo Light"/>
              </a:rPr>
              <a:t> policy </a:t>
            </a:r>
            <a:r>
              <a:rPr lang="nl-NL" dirty="0" err="1">
                <a:latin typeface="Fieldwork 03 Geo Light"/>
              </a:rPr>
              <a:t>alternatives</a:t>
            </a:r>
            <a:r>
              <a:rPr lang="nl-NL" dirty="0">
                <a:latin typeface="Fieldwork 03 Geo Light"/>
              </a:rPr>
              <a:t> and </a:t>
            </a:r>
            <a:r>
              <a:rPr lang="nl-NL" dirty="0" err="1">
                <a:latin typeface="Fieldwork 03 Geo Light"/>
              </a:rPr>
              <a:t>uncertainty</a:t>
            </a:r>
            <a:r>
              <a:rPr lang="nl-NL" dirty="0">
                <a:latin typeface="Fieldwork 03 Geo Light"/>
              </a:rPr>
              <a:t> </a:t>
            </a:r>
            <a:r>
              <a:rPr lang="nl-NL" dirty="0" err="1">
                <a:latin typeface="Fieldwork 03 Geo Light"/>
              </a:rPr>
              <a:t>bandwidths</a:t>
            </a:r>
            <a:r>
              <a:rPr lang="nl-NL" dirty="0">
                <a:latin typeface="Fieldwork 03 Geo Light"/>
              </a:rPr>
              <a:t> of parameters</a:t>
            </a:r>
          </a:p>
          <a:p>
            <a:pPr marL="514350" indent="-514350">
              <a:buFont typeface="+mj-lt"/>
              <a:buAutoNum type="arabicPeriod"/>
            </a:pPr>
            <a:endParaRPr lang="nl-NL" dirty="0">
              <a:latin typeface="Fieldwork 03 Geo Light"/>
            </a:endParaRPr>
          </a:p>
          <a:p>
            <a:pPr marL="514350" indent="-514350">
              <a:buFont typeface="+mj-lt"/>
              <a:buAutoNum type="arabicPeriod"/>
            </a:pPr>
            <a:r>
              <a:rPr lang="nl-NL" dirty="0">
                <a:latin typeface="Fieldwork 03 Geo Light"/>
              </a:rPr>
              <a:t>Large-</a:t>
            </a:r>
            <a:r>
              <a:rPr lang="nl-NL" dirty="0" err="1">
                <a:latin typeface="Fieldwork 03 Geo Light"/>
              </a:rPr>
              <a:t>scale</a:t>
            </a:r>
            <a:r>
              <a:rPr lang="nl-NL" dirty="0">
                <a:latin typeface="Fieldwork 03 Geo Light"/>
              </a:rPr>
              <a:t> </a:t>
            </a:r>
            <a:r>
              <a:rPr lang="nl-NL" dirty="0" err="1">
                <a:latin typeface="Fieldwork 03 Geo Light"/>
              </a:rPr>
              <a:t>computational</a:t>
            </a:r>
            <a:r>
              <a:rPr lang="nl-NL" dirty="0">
                <a:latin typeface="Fieldwork 03 Geo Light"/>
              </a:rPr>
              <a:t> </a:t>
            </a:r>
            <a:r>
              <a:rPr lang="nl-NL" dirty="0" err="1">
                <a:latin typeface="Fieldwork 03 Geo Light"/>
              </a:rPr>
              <a:t>experimentation</a:t>
            </a:r>
            <a:endParaRPr lang="nl-NL" dirty="0">
              <a:latin typeface="Fieldwork 03 Geo Light"/>
            </a:endParaRPr>
          </a:p>
          <a:p>
            <a:pPr marL="514350" indent="-514350">
              <a:buFont typeface="+mj-lt"/>
              <a:buAutoNum type="arabicPeriod"/>
            </a:pPr>
            <a:endParaRPr lang="nl-NL" dirty="0">
              <a:latin typeface="Fieldwork 03 Geo Light"/>
            </a:endParaRPr>
          </a:p>
          <a:p>
            <a:pPr marL="514350" indent="-514350">
              <a:buFont typeface="+mj-lt"/>
              <a:buAutoNum type="arabicPeriod"/>
            </a:pPr>
            <a:r>
              <a:rPr lang="nl-NL" dirty="0">
                <a:latin typeface="Fieldwork 03 Geo Light"/>
              </a:rPr>
              <a:t>Worst-case scenario </a:t>
            </a:r>
            <a:r>
              <a:rPr lang="nl-NL" dirty="0" err="1">
                <a:latin typeface="Fieldwork 03 Geo Light"/>
              </a:rPr>
              <a:t>discovery</a:t>
            </a:r>
            <a:endParaRPr lang="nl-NL" dirty="0">
              <a:latin typeface="Fieldwork 03 Geo Light"/>
            </a:endParaRPr>
          </a:p>
          <a:p>
            <a:pPr marL="514350" indent="-514350">
              <a:buFont typeface="+mj-lt"/>
              <a:buAutoNum type="arabicPeriod"/>
            </a:pPr>
            <a:endParaRPr lang="nl-NL" dirty="0">
              <a:latin typeface="Fieldwork 03 Geo Light"/>
            </a:endParaRPr>
          </a:p>
          <a:p>
            <a:pPr marL="514350" indent="-514350">
              <a:buFont typeface="+mj-lt"/>
              <a:buAutoNum type="arabicPeriod"/>
            </a:pPr>
            <a:r>
              <a:rPr lang="nl-NL" dirty="0" err="1">
                <a:latin typeface="Fieldwork 03 Geo Light"/>
              </a:rPr>
              <a:t>Determine</a:t>
            </a:r>
            <a:r>
              <a:rPr lang="nl-NL" dirty="0">
                <a:latin typeface="Fieldwork 03 Geo Light"/>
              </a:rPr>
              <a:t> </a:t>
            </a:r>
            <a:r>
              <a:rPr lang="nl-NL" dirty="0" err="1">
                <a:latin typeface="Fieldwork 03 Geo Light"/>
              </a:rPr>
              <a:t>the</a:t>
            </a:r>
            <a:r>
              <a:rPr lang="nl-NL" dirty="0">
                <a:latin typeface="Fieldwork 03 Geo Light"/>
              </a:rPr>
              <a:t> </a:t>
            </a:r>
            <a:r>
              <a:rPr lang="nl-NL" dirty="0" err="1">
                <a:latin typeface="Fieldwork 03 Geo Light"/>
              </a:rPr>
              <a:t>robustness</a:t>
            </a:r>
            <a:r>
              <a:rPr lang="nl-NL" dirty="0">
                <a:latin typeface="Fieldwork 03 Geo Light"/>
              </a:rPr>
              <a:t> of policy </a:t>
            </a:r>
            <a:r>
              <a:rPr lang="nl-NL" dirty="0" err="1">
                <a:latin typeface="Fieldwork 03 Geo Light"/>
              </a:rPr>
              <a:t>alternatives</a:t>
            </a:r>
            <a:endParaRPr lang="nl-NL" dirty="0">
              <a:latin typeface="Fieldwork 03 Geo Light"/>
            </a:endParaRPr>
          </a:p>
          <a:p>
            <a:pPr marL="514350" indent="-514350">
              <a:buFont typeface="+mj-lt"/>
              <a:buAutoNum type="arabicPeriod"/>
            </a:pPr>
            <a:endParaRPr lang="nl-NL" dirty="0">
              <a:latin typeface="Fieldwork 03 Geo Light"/>
            </a:endParaRPr>
          </a:p>
          <a:p>
            <a:pPr marL="514350" indent="-514350">
              <a:buFont typeface="+mj-lt"/>
              <a:buAutoNum type="arabicPeriod"/>
            </a:pPr>
            <a:r>
              <a:rPr lang="nl-NL" dirty="0">
                <a:latin typeface="Fieldwork 03 Geo Light"/>
              </a:rPr>
              <a:t>If </a:t>
            </a:r>
            <a:r>
              <a:rPr lang="nl-NL" dirty="0" err="1">
                <a:latin typeface="Fieldwork 03 Geo Light"/>
              </a:rPr>
              <a:t>the</a:t>
            </a:r>
            <a:r>
              <a:rPr lang="nl-NL" dirty="0">
                <a:latin typeface="Fieldwork 03 Geo Light"/>
              </a:rPr>
              <a:t> </a:t>
            </a:r>
            <a:r>
              <a:rPr lang="nl-NL" dirty="0" err="1">
                <a:latin typeface="Fieldwork 03 Geo Light"/>
              </a:rPr>
              <a:t>robustness</a:t>
            </a:r>
            <a:r>
              <a:rPr lang="nl-NL" dirty="0">
                <a:latin typeface="Fieldwork 03 Geo Light"/>
              </a:rPr>
              <a:t> </a:t>
            </a:r>
            <a:r>
              <a:rPr lang="nl-NL" dirty="0" err="1">
                <a:latin typeface="Fieldwork 03 Geo Light"/>
              </a:rPr>
              <a:t>criterion</a:t>
            </a:r>
            <a:r>
              <a:rPr lang="nl-NL" dirty="0">
                <a:latin typeface="Fieldwork 03 Geo Light"/>
              </a:rPr>
              <a:t> is </a:t>
            </a:r>
            <a:r>
              <a:rPr lang="nl-NL" dirty="0" err="1">
                <a:latin typeface="Fieldwork 03 Geo Light"/>
              </a:rPr>
              <a:t>not</a:t>
            </a:r>
            <a:r>
              <a:rPr lang="nl-NL" dirty="0">
                <a:latin typeface="Fieldwork 03 Geo Light"/>
              </a:rPr>
              <a:t> </a:t>
            </a:r>
            <a:r>
              <a:rPr lang="nl-NL" dirty="0" err="1">
                <a:latin typeface="Fieldwork 03 Geo Light"/>
              </a:rPr>
              <a:t>satisfied</a:t>
            </a:r>
            <a:r>
              <a:rPr lang="nl-NL" dirty="0">
                <a:latin typeface="Fieldwork 03 Geo Light"/>
              </a:rPr>
              <a:t>, </a:t>
            </a:r>
            <a:r>
              <a:rPr lang="nl-NL" dirty="0" err="1">
                <a:latin typeface="Fieldwork 03 Geo Light"/>
              </a:rPr>
              <a:t>specify</a:t>
            </a:r>
            <a:r>
              <a:rPr lang="nl-NL" dirty="0">
                <a:latin typeface="Fieldwork 03 Geo Light"/>
              </a:rPr>
              <a:t> new </a:t>
            </a:r>
            <a:r>
              <a:rPr lang="nl-NL" dirty="0" err="1">
                <a:latin typeface="Fieldwork 03 Geo Light"/>
              </a:rPr>
              <a:t>alternatives</a:t>
            </a:r>
            <a:r>
              <a:rPr lang="nl-NL" dirty="0">
                <a:latin typeface="Fieldwork 03 Geo Light"/>
              </a:rPr>
              <a:t> and </a:t>
            </a:r>
            <a:r>
              <a:rPr lang="nl-NL" dirty="0" err="1">
                <a:latin typeface="Fieldwork 03 Geo Light"/>
              </a:rPr>
              <a:t>repeat</a:t>
            </a:r>
            <a:r>
              <a:rPr lang="nl-NL" dirty="0">
                <a:latin typeface="Fieldwork 03 Geo Light"/>
              </a:rPr>
              <a:t> </a:t>
            </a:r>
            <a:r>
              <a:rPr lang="nl-NL" dirty="0" err="1">
                <a:latin typeface="Fieldwork 03 Geo Light"/>
              </a:rPr>
              <a:t>the</a:t>
            </a:r>
            <a:r>
              <a:rPr lang="nl-NL" dirty="0">
                <a:latin typeface="Fieldwork 03 Geo Light"/>
              </a:rPr>
              <a:t> analysis</a:t>
            </a:r>
            <a:endParaRPr lang="nl-NL" b="0" dirty="0">
              <a:latin typeface="Fieldwork 03 Geo Light"/>
            </a:endParaRPr>
          </a:p>
          <a:p>
            <a:pPr marL="514350" indent="-514350">
              <a:buFont typeface="+mj-lt"/>
              <a:buAutoNum type="arabicPeriod"/>
            </a:pPr>
            <a:endParaRPr lang="nl-NL" b="0" dirty="0"/>
          </a:p>
          <a:p>
            <a:pPr marL="0" indent="0">
              <a:buNone/>
            </a:pPr>
            <a:endParaRPr lang="nl-NL" b="0" dirty="0"/>
          </a:p>
          <a:p>
            <a:pPr marL="171450" indent="-171450"/>
            <a:endParaRPr lang="nl-NL" dirty="0"/>
          </a:p>
          <a:p>
            <a:pPr marL="171450" indent="-171450"/>
            <a:endParaRPr lang="nl-NL" sz="2800" dirty="0"/>
          </a:p>
          <a:p>
            <a:pPr marL="628650" lvl="1" indent="-171450"/>
            <a:endParaRPr lang="nl-NL" dirty="0"/>
          </a:p>
          <a:p>
            <a:pPr>
              <a:lnSpc>
                <a:spcPct val="100000"/>
              </a:lnSpc>
            </a:pPr>
            <a:endParaRPr lang="nl-NL" i="1" dirty="0"/>
          </a:p>
          <a:p>
            <a:pPr>
              <a:lnSpc>
                <a:spcPct val="100000"/>
              </a:lnSpc>
            </a:pPr>
            <a:endParaRPr lang="nl-NL" i="1" dirty="0"/>
          </a:p>
        </p:txBody>
      </p:sp>
    </p:spTree>
    <p:extLst>
      <p:ext uri="{BB962C8B-B14F-4D97-AF65-F5344CB8AC3E}">
        <p14:creationId xmlns:p14="http://schemas.microsoft.com/office/powerpoint/2010/main" val="4089140567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4CB9638D-ECED-41AB-BB13-7783F77090B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3" imgH="384" progId="TCLayout.ActiveDocument.1">
                  <p:embed/>
                </p:oleObj>
              </mc:Choice>
              <mc:Fallback>
                <p:oleObj name="think-cell Slide" r:id="rId3" imgW="383" imgH="38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4CB9638D-ECED-41AB-BB13-7783F77090B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mc:AlternateContent xmlns:mc="http://schemas.openxmlformats.org/markup-compatibility/2006" xmlns:p14="http://schemas.microsoft.com/office/powerpoint/2010/main">
        <mc:Choice Requires="p14">
          <p:contentPart p14:bwMode="auto" r:id="rId5">
            <p14:nvContentPartPr>
              <p14:cNvPr id="3" name="Ink 2">
                <a:extLst>
                  <a:ext uri="{FF2B5EF4-FFF2-40B4-BE49-F238E27FC236}">
                    <a16:creationId xmlns:a16="http://schemas.microsoft.com/office/drawing/2014/main" id="{A85015BB-E692-9D75-5CB9-79864D3649BF}"/>
                  </a:ext>
                </a:extLst>
              </p14:cNvPr>
              <p14:cNvContentPartPr/>
              <p14:nvPr/>
            </p14:nvContentPartPr>
            <p14:xfrm>
              <a:off x="866880" y="1002530"/>
              <a:ext cx="360" cy="360"/>
            </p14:xfrm>
          </p:contentPart>
        </mc:Choice>
        <mc:Fallback xmlns="">
          <p:pic>
            <p:nvPicPr>
              <p:cNvPr id="3" name="Ink 2">
                <a:extLst>
                  <a:ext uri="{FF2B5EF4-FFF2-40B4-BE49-F238E27FC236}">
                    <a16:creationId xmlns:a16="http://schemas.microsoft.com/office/drawing/2014/main" id="{A85015BB-E692-9D75-5CB9-79864D3649BF}"/>
                  </a:ext>
                </a:extLst>
              </p:cNvPr>
              <p:cNvPicPr/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858240" y="993890"/>
                <a:ext cx="18000" cy="18000"/>
              </a:xfrm>
              <a:prstGeom prst="rect">
                <a:avLst/>
              </a:prstGeom>
            </p:spPr>
          </p:pic>
        </mc:Fallback>
      </mc:AlternateContent>
      <p:sp>
        <p:nvSpPr>
          <p:cNvPr id="9" name="Title 8">
            <a:extLst>
              <a:ext uri="{FF2B5EF4-FFF2-40B4-BE49-F238E27FC236}">
                <a16:creationId xmlns:a16="http://schemas.microsoft.com/office/drawing/2014/main" id="{6AB44400-CF50-A717-000E-BC860566862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3898" y="713882"/>
            <a:ext cx="9285641" cy="746619"/>
          </a:xfrm>
        </p:spPr>
        <p:txBody>
          <a:bodyPr>
            <a:normAutofit/>
          </a:bodyPr>
          <a:lstStyle/>
          <a:p>
            <a:r>
              <a:rPr lang="nl-NL" dirty="0">
                <a:latin typeface="Fieldwork 06 Geo Bold"/>
              </a:rPr>
              <a:t>Computational experimentation</a:t>
            </a:r>
          </a:p>
        </p:txBody>
      </p:sp>
      <p:pic>
        <p:nvPicPr>
          <p:cNvPr id="10" name="Afbeelding 4">
            <a:extLst>
              <a:ext uri="{FF2B5EF4-FFF2-40B4-BE49-F238E27FC236}">
                <a16:creationId xmlns:a16="http://schemas.microsoft.com/office/drawing/2014/main" id="{1523073A-F104-DC7E-EE47-949D2606F37D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r="-555"/>
          <a:stretch/>
        </p:blipFill>
        <p:spPr>
          <a:xfrm>
            <a:off x="2286786" y="1460501"/>
            <a:ext cx="6768313" cy="52891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33695052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4CB9638D-ECED-41AB-BB13-7783F77090B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3" imgH="384" progId="TCLayout.ActiveDocument.1">
                  <p:embed/>
                </p:oleObj>
              </mc:Choice>
              <mc:Fallback>
                <p:oleObj name="think-cell Slide" r:id="rId3" imgW="383" imgH="38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4CB9638D-ECED-41AB-BB13-7783F77090B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mc:AlternateContent xmlns:mc="http://schemas.openxmlformats.org/markup-compatibility/2006" xmlns:p14="http://schemas.microsoft.com/office/powerpoint/2010/main">
        <mc:Choice Requires="p14">
          <p:contentPart p14:bwMode="auto" r:id="rId5">
            <p14:nvContentPartPr>
              <p14:cNvPr id="3" name="Ink 2">
                <a:extLst>
                  <a:ext uri="{FF2B5EF4-FFF2-40B4-BE49-F238E27FC236}">
                    <a16:creationId xmlns:a16="http://schemas.microsoft.com/office/drawing/2014/main" id="{A85015BB-E692-9D75-5CB9-79864D3649BF}"/>
                  </a:ext>
                </a:extLst>
              </p14:cNvPr>
              <p14:cNvContentPartPr/>
              <p14:nvPr/>
            </p14:nvContentPartPr>
            <p14:xfrm>
              <a:off x="866880" y="1002530"/>
              <a:ext cx="360" cy="360"/>
            </p14:xfrm>
          </p:contentPart>
        </mc:Choice>
        <mc:Fallback xmlns="">
          <p:pic>
            <p:nvPicPr>
              <p:cNvPr id="3" name="Ink 2">
                <a:extLst>
                  <a:ext uri="{FF2B5EF4-FFF2-40B4-BE49-F238E27FC236}">
                    <a16:creationId xmlns:a16="http://schemas.microsoft.com/office/drawing/2014/main" id="{A85015BB-E692-9D75-5CB9-79864D3649BF}"/>
                  </a:ext>
                </a:extLst>
              </p:cNvPr>
              <p:cNvPicPr/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858240" y="993890"/>
                <a:ext cx="18000" cy="18000"/>
              </a:xfrm>
              <a:prstGeom prst="rect">
                <a:avLst/>
              </a:prstGeom>
            </p:spPr>
          </p:pic>
        </mc:Fallback>
      </mc:AlternateContent>
      <p:sp>
        <p:nvSpPr>
          <p:cNvPr id="9" name="Title 8">
            <a:extLst>
              <a:ext uri="{FF2B5EF4-FFF2-40B4-BE49-F238E27FC236}">
                <a16:creationId xmlns:a16="http://schemas.microsoft.com/office/drawing/2014/main" id="{6AB44400-CF50-A717-000E-BC860566862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3898" y="713882"/>
            <a:ext cx="9285641" cy="746619"/>
          </a:xfrm>
        </p:spPr>
        <p:txBody>
          <a:bodyPr>
            <a:normAutofit/>
          </a:bodyPr>
          <a:lstStyle/>
          <a:p>
            <a:r>
              <a:rPr lang="nl-NL" dirty="0"/>
              <a:t>Worst-case scenario </a:t>
            </a:r>
            <a:r>
              <a:rPr lang="nl-NL" dirty="0" err="1"/>
              <a:t>discovery</a:t>
            </a:r>
            <a:endParaRPr lang="nl-NL" dirty="0"/>
          </a:p>
        </p:txBody>
      </p:sp>
      <p:pic>
        <p:nvPicPr>
          <p:cNvPr id="2" name="Afbeelding 6">
            <a:extLst>
              <a:ext uri="{FF2B5EF4-FFF2-40B4-BE49-F238E27FC236}">
                <a16:creationId xmlns:a16="http://schemas.microsoft.com/office/drawing/2014/main" id="{78501A6E-6533-411E-38BF-4BCF3CFF7A66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286336" y="1784998"/>
            <a:ext cx="5429130" cy="48888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24268541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C8207ECA-9EAF-02CE-C337-872CFC11576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09280" y="1651000"/>
            <a:ext cx="9050920" cy="4880663"/>
          </a:xfrm>
          <a:prstGeom prst="rect">
            <a:avLst/>
          </a:prstGeom>
        </p:spPr>
      </p:pic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4CB9638D-ECED-41AB-BB13-7783F77090B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4CB9638D-ECED-41AB-BB13-7783F77090B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el 3">
            <a:extLst>
              <a:ext uri="{FF2B5EF4-FFF2-40B4-BE49-F238E27FC236}">
                <a16:creationId xmlns:a16="http://schemas.microsoft.com/office/drawing/2014/main" id="{49EF1491-38AF-46FA-B46A-10987DFC7D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nl-NL" dirty="0">
                <a:latin typeface="Fieldwork 06 Geo Bold"/>
              </a:rPr>
              <a:t>Process diagram</a:t>
            </a:r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56C0CA39-5A82-C711-A2D9-5A1A77747630}"/>
              </a:ext>
            </a:extLst>
          </p:cNvPr>
          <p:cNvSpPr txBox="1">
            <a:spLocks/>
          </p:cNvSpPr>
          <p:nvPr/>
        </p:nvSpPr>
        <p:spPr>
          <a:xfrm>
            <a:off x="723898" y="1792779"/>
            <a:ext cx="10515600" cy="4268155"/>
          </a:xfrm>
          <a:prstGeom prst="rect">
            <a:avLst/>
          </a:prstGeom>
        </p:spPr>
        <p:txBody>
          <a:bodyPr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57200" lvl="1" indent="0">
              <a:buNone/>
            </a:pPr>
            <a:endParaRPr lang="nl-NL" sz="2000" b="1" dirty="0"/>
          </a:p>
          <a:p>
            <a:pPr marL="0" indent="0">
              <a:buNone/>
            </a:pPr>
            <a:endParaRPr lang="nl-NL" sz="2400" b="1" dirty="0"/>
          </a:p>
          <a:p>
            <a:pPr marL="0" indent="0">
              <a:buNone/>
            </a:pPr>
            <a:endParaRPr lang="nl-NL" sz="2400" b="1" dirty="0"/>
          </a:p>
          <a:p>
            <a:pPr marL="0" indent="0">
              <a:buNone/>
            </a:pPr>
            <a:endParaRPr lang="nl-NL" sz="2400" b="1" dirty="0"/>
          </a:p>
          <a:p>
            <a:pPr marL="0" indent="0">
              <a:buNone/>
            </a:pPr>
            <a:endParaRPr lang="nl-NL" sz="2800" dirty="0"/>
          </a:p>
          <a:p>
            <a:pPr>
              <a:lnSpc>
                <a:spcPct val="100000"/>
              </a:lnSpc>
            </a:pPr>
            <a:endParaRPr lang="nl-NL" i="1" dirty="0"/>
          </a:p>
          <a:p>
            <a:pPr>
              <a:lnSpc>
                <a:spcPct val="100000"/>
              </a:lnSpc>
            </a:pPr>
            <a:endParaRPr lang="nl-NL" i="1" dirty="0"/>
          </a:p>
        </p:txBody>
      </p:sp>
      <p:sp>
        <p:nvSpPr>
          <p:cNvPr id="3" name="Arrow: Down 2">
            <a:extLst>
              <a:ext uri="{FF2B5EF4-FFF2-40B4-BE49-F238E27FC236}">
                <a16:creationId xmlns:a16="http://schemas.microsoft.com/office/drawing/2014/main" id="{FD30CCDC-CBBB-F285-D48F-5CFF649BC141}"/>
              </a:ext>
            </a:extLst>
          </p:cNvPr>
          <p:cNvSpPr/>
          <p:nvPr/>
        </p:nvSpPr>
        <p:spPr>
          <a:xfrm rot="16200000">
            <a:off x="4562396" y="2882900"/>
            <a:ext cx="372968" cy="844550"/>
          </a:xfrm>
          <a:prstGeom prst="down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dirty="0"/>
          </a:p>
        </p:txBody>
      </p:sp>
      <p:sp>
        <p:nvSpPr>
          <p:cNvPr id="8" name="Arrow: Down 7">
            <a:extLst>
              <a:ext uri="{FF2B5EF4-FFF2-40B4-BE49-F238E27FC236}">
                <a16:creationId xmlns:a16="http://schemas.microsoft.com/office/drawing/2014/main" id="{2E8CFDBC-8F0D-7032-BF1D-247DE014F7A9}"/>
              </a:ext>
            </a:extLst>
          </p:cNvPr>
          <p:cNvSpPr/>
          <p:nvPr/>
        </p:nvSpPr>
        <p:spPr>
          <a:xfrm rot="16200000">
            <a:off x="4562396" y="4953000"/>
            <a:ext cx="372968" cy="844550"/>
          </a:xfrm>
          <a:prstGeom prst="down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dirty="0"/>
          </a:p>
        </p:txBody>
      </p:sp>
      <p:sp>
        <p:nvSpPr>
          <p:cNvPr id="9" name="Arrow: Down 8">
            <a:extLst>
              <a:ext uri="{FF2B5EF4-FFF2-40B4-BE49-F238E27FC236}">
                <a16:creationId xmlns:a16="http://schemas.microsoft.com/office/drawing/2014/main" id="{77AD63CB-BEF7-3858-936B-8F2644C533FF}"/>
              </a:ext>
            </a:extLst>
          </p:cNvPr>
          <p:cNvSpPr/>
          <p:nvPr/>
        </p:nvSpPr>
        <p:spPr>
          <a:xfrm rot="10800000">
            <a:off x="2847896" y="4413250"/>
            <a:ext cx="372968" cy="844550"/>
          </a:xfrm>
          <a:prstGeom prst="down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299169552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8" grpId="0" animBg="1"/>
      <p:bldP spid="9" grpId="0" animBg="1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hoek 4">
            <a:extLst>
              <a:ext uri="{FF2B5EF4-FFF2-40B4-BE49-F238E27FC236}">
                <a16:creationId xmlns:a16="http://schemas.microsoft.com/office/drawing/2014/main" id="{85753795-E880-43BF-A8C4-FEE5905B461C}"/>
              </a:ext>
            </a:extLst>
          </p:cNvPr>
          <p:cNvSpPr/>
          <p:nvPr/>
        </p:nvSpPr>
        <p:spPr>
          <a:xfrm>
            <a:off x="0" y="4"/>
            <a:ext cx="12192000" cy="6858000"/>
          </a:xfrm>
          <a:prstGeom prst="rect">
            <a:avLst/>
          </a:prstGeom>
          <a:solidFill>
            <a:srgbClr val="1A9B6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" name="Vrije vorm: vorm 7">
            <a:extLst>
              <a:ext uri="{FF2B5EF4-FFF2-40B4-BE49-F238E27FC236}">
                <a16:creationId xmlns:a16="http://schemas.microsoft.com/office/drawing/2014/main" id="{0C515943-E37A-4927-A771-4035ABBDF90A}"/>
              </a:ext>
            </a:extLst>
          </p:cNvPr>
          <p:cNvSpPr/>
          <p:nvPr/>
        </p:nvSpPr>
        <p:spPr>
          <a:xfrm>
            <a:off x="6789148" y="4"/>
            <a:ext cx="5402852" cy="6858000"/>
          </a:xfrm>
          <a:custGeom>
            <a:avLst/>
            <a:gdLst>
              <a:gd name="connsiteX0" fmla="*/ 748336 w 6096000"/>
              <a:gd name="connsiteY0" fmla="*/ 0 h 6858000"/>
              <a:gd name="connsiteX1" fmla="*/ 6096000 w 6096000"/>
              <a:gd name="connsiteY1" fmla="*/ 0 h 6858000"/>
              <a:gd name="connsiteX2" fmla="*/ 6096000 w 6096000"/>
              <a:gd name="connsiteY2" fmla="*/ 6858000 h 6858000"/>
              <a:gd name="connsiteX3" fmla="*/ 748336 w 6096000"/>
              <a:gd name="connsiteY3" fmla="*/ 6858000 h 6858000"/>
              <a:gd name="connsiteX4" fmla="*/ 635121 w 6096000"/>
              <a:gd name="connsiteY4" fmla="*/ 6610978 h 6858000"/>
              <a:gd name="connsiteX5" fmla="*/ 0 w 6096000"/>
              <a:gd name="connsiteY5" fmla="*/ 3429000 h 6858000"/>
              <a:gd name="connsiteX6" fmla="*/ 635121 w 6096000"/>
              <a:gd name="connsiteY6" fmla="*/ 247023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096000" h="6858000">
                <a:moveTo>
                  <a:pt x="748336" y="0"/>
                </a:moveTo>
                <a:lnTo>
                  <a:pt x="6096000" y="0"/>
                </a:lnTo>
                <a:lnTo>
                  <a:pt x="6096000" y="6858000"/>
                </a:lnTo>
                <a:lnTo>
                  <a:pt x="748336" y="6858000"/>
                </a:lnTo>
                <a:lnTo>
                  <a:pt x="635121" y="6610978"/>
                </a:lnTo>
                <a:cubicBezTo>
                  <a:pt x="232090" y="5683164"/>
                  <a:pt x="0" y="4593994"/>
                  <a:pt x="0" y="3429000"/>
                </a:cubicBezTo>
                <a:cubicBezTo>
                  <a:pt x="0" y="2264006"/>
                  <a:pt x="232090" y="1174837"/>
                  <a:pt x="635121" y="247023"/>
                </a:cubicBezTo>
                <a:close/>
              </a:path>
            </a:pathLst>
          </a:custGeom>
          <a:solidFill>
            <a:srgbClr val="EDEDE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7" name="Rechthoek 6">
            <a:extLst>
              <a:ext uri="{FF2B5EF4-FFF2-40B4-BE49-F238E27FC236}">
                <a16:creationId xmlns:a16="http://schemas.microsoft.com/office/drawing/2014/main" id="{52EE41DA-FD80-4EB4-AF62-D841DFD9186E}"/>
              </a:ext>
            </a:extLst>
          </p:cNvPr>
          <p:cNvSpPr/>
          <p:nvPr/>
        </p:nvSpPr>
        <p:spPr bwMode="auto">
          <a:xfrm>
            <a:off x="823916" y="1460502"/>
            <a:ext cx="946149" cy="46037"/>
          </a:xfrm>
          <a:prstGeom prst="rect">
            <a:avLst/>
          </a:prstGeom>
          <a:solidFill>
            <a:srgbClr val="FAB600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GB"/>
          </a:p>
        </p:txBody>
      </p:sp>
      <p:sp>
        <p:nvSpPr>
          <p:cNvPr id="16" name="Tekstvak 1">
            <a:extLst>
              <a:ext uri="{FF2B5EF4-FFF2-40B4-BE49-F238E27FC236}">
                <a16:creationId xmlns:a16="http://schemas.microsoft.com/office/drawing/2014/main" id="{625D6173-D545-4071-B2F9-5E615261D8C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576477" y="1610088"/>
            <a:ext cx="4146989" cy="2042739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9pPr>
          </a:lstStyle>
          <a:p>
            <a:pPr eaLnBrk="1" fontAlgn="b" hangingPunct="1">
              <a:lnSpc>
                <a:spcPct val="140000"/>
              </a:lnSpc>
              <a:buClr>
                <a:schemeClr val="bg1"/>
              </a:buClr>
              <a:defRPr/>
            </a:pPr>
            <a:r>
              <a:rPr lang="en-GB" sz="3200" dirty="0">
                <a:solidFill>
                  <a:schemeClr val="bg1"/>
                </a:solidFill>
                <a:latin typeface="+mn-lt"/>
                <a:cs typeface="Uni Sans light"/>
              </a:rPr>
              <a:t>map to connect</a:t>
            </a:r>
          </a:p>
          <a:p>
            <a:pPr eaLnBrk="1" fontAlgn="b" hangingPunct="1">
              <a:lnSpc>
                <a:spcPct val="140000"/>
              </a:lnSpc>
              <a:buClr>
                <a:schemeClr val="bg1"/>
              </a:buClr>
              <a:defRPr/>
            </a:pPr>
            <a:r>
              <a:rPr lang="en-GB" sz="3200" dirty="0">
                <a:solidFill>
                  <a:schemeClr val="bg1"/>
                </a:solidFill>
                <a:latin typeface="+mn-lt"/>
                <a:cs typeface="Uni Sans light"/>
              </a:rPr>
              <a:t>model to understand</a:t>
            </a:r>
          </a:p>
          <a:p>
            <a:pPr eaLnBrk="1" fontAlgn="b" hangingPunct="1">
              <a:lnSpc>
                <a:spcPct val="140000"/>
              </a:lnSpc>
              <a:buClr>
                <a:schemeClr val="bg1"/>
              </a:buClr>
              <a:defRPr/>
            </a:pPr>
            <a:r>
              <a:rPr lang="en-GB" sz="3200" dirty="0">
                <a:solidFill>
                  <a:schemeClr val="bg1"/>
                </a:solidFill>
                <a:latin typeface="+mn-lt"/>
                <a:cs typeface="Uni Sans light"/>
              </a:rPr>
              <a:t>analyse to improve</a:t>
            </a:r>
          </a:p>
        </p:txBody>
      </p:sp>
      <p:pic>
        <p:nvPicPr>
          <p:cNvPr id="4" name="Afbeelding 3">
            <a:extLst>
              <a:ext uri="{FF2B5EF4-FFF2-40B4-BE49-F238E27FC236}">
                <a16:creationId xmlns:a16="http://schemas.microsoft.com/office/drawing/2014/main" id="{182A873F-ABAA-4261-B708-0230A49C80C4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31341" t="8286" r="31727" b="25505"/>
          <a:stretch/>
        </p:blipFill>
        <p:spPr>
          <a:xfrm>
            <a:off x="7312934" y="1410939"/>
            <a:ext cx="4502757" cy="4036130"/>
          </a:xfrm>
          <a:prstGeom prst="rect">
            <a:avLst/>
          </a:prstGeom>
        </p:spPr>
      </p:pic>
      <p:sp>
        <p:nvSpPr>
          <p:cNvPr id="3" name="Titel 2">
            <a:extLst>
              <a:ext uri="{FF2B5EF4-FFF2-40B4-BE49-F238E27FC236}">
                <a16:creationId xmlns:a16="http://schemas.microsoft.com/office/drawing/2014/main" id="{46135FE4-B1A5-544D-8E7C-FF5697EE416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3899" y="713882"/>
            <a:ext cx="5688940" cy="746619"/>
          </a:xfrm>
        </p:spPr>
        <p:txBody>
          <a:bodyPr/>
          <a:lstStyle/>
          <a:p>
            <a:r>
              <a:rPr lang="nl-NL" dirty="0" err="1">
                <a:solidFill>
                  <a:schemeClr val="bg1"/>
                </a:solidFill>
                <a:latin typeface="Fieldwork 06 Geo Bold"/>
              </a:rPr>
              <a:t>the</a:t>
            </a:r>
            <a:r>
              <a:rPr lang="nl-NL" dirty="0">
                <a:solidFill>
                  <a:schemeClr val="bg1"/>
                </a:solidFill>
                <a:latin typeface="Fieldwork 06 Geo Bold"/>
              </a:rPr>
              <a:t> Copernicos approach</a:t>
            </a:r>
          </a:p>
        </p:txBody>
      </p:sp>
      <p:pic>
        <p:nvPicPr>
          <p:cNvPr id="13" name="Graphic 12" descr="Koppeling">
            <a:extLst>
              <a:ext uri="{FF2B5EF4-FFF2-40B4-BE49-F238E27FC236}">
                <a16:creationId xmlns:a16="http://schemas.microsoft.com/office/drawing/2014/main" id="{EE6E1D4C-8D0E-4121-9482-667713CCB383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823915" y="1695676"/>
            <a:ext cx="558725" cy="558725"/>
          </a:xfrm>
          <a:prstGeom prst="rect">
            <a:avLst/>
          </a:prstGeom>
        </p:spPr>
      </p:pic>
      <p:pic>
        <p:nvPicPr>
          <p:cNvPr id="15" name="Graphic 14" descr="Lichten aan met effen opvulling">
            <a:extLst>
              <a:ext uri="{FF2B5EF4-FFF2-40B4-BE49-F238E27FC236}">
                <a16:creationId xmlns:a16="http://schemas.microsoft.com/office/drawing/2014/main" id="{27F425D0-0BCB-44AD-BD62-5FFABC52496C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829598" y="2390464"/>
            <a:ext cx="558725" cy="558725"/>
          </a:xfrm>
          <a:prstGeom prst="rect">
            <a:avLst/>
          </a:prstGeom>
        </p:spPr>
      </p:pic>
      <p:pic>
        <p:nvPicPr>
          <p:cNvPr id="17" name="Graphic 16" descr="Opwaartse trend met effen opvulling">
            <a:extLst>
              <a:ext uri="{FF2B5EF4-FFF2-40B4-BE49-F238E27FC236}">
                <a16:creationId xmlns:a16="http://schemas.microsoft.com/office/drawing/2014/main" id="{14BC434B-5A6F-4FEA-97EE-F1AA4073979A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829598" y="3085252"/>
            <a:ext cx="558725" cy="558725"/>
          </a:xfrm>
          <a:prstGeom prst="rect">
            <a:avLst/>
          </a:prstGeom>
        </p:spPr>
      </p:pic>
      <p:pic>
        <p:nvPicPr>
          <p:cNvPr id="12" name="Afbeelding 11" descr="Afbeelding met spel, tekening&#10;&#10;Automatisch gegenereerde beschrijving">
            <a:extLst>
              <a:ext uri="{FF2B5EF4-FFF2-40B4-BE49-F238E27FC236}">
                <a16:creationId xmlns:a16="http://schemas.microsoft.com/office/drawing/2014/main" id="{426832E2-7386-4833-BCBD-10E5E7270C4E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2" y="4890527"/>
            <a:ext cx="4421172" cy="13087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66697898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hoek 2">
            <a:extLst>
              <a:ext uri="{FF2B5EF4-FFF2-40B4-BE49-F238E27FC236}">
                <a16:creationId xmlns:a16="http://schemas.microsoft.com/office/drawing/2014/main" id="{39AEE523-8B7C-4D7B-B348-605269EAF4F2}"/>
              </a:ext>
            </a:extLst>
          </p:cNvPr>
          <p:cNvSpPr/>
          <p:nvPr/>
        </p:nvSpPr>
        <p:spPr>
          <a:xfrm>
            <a:off x="3" y="4"/>
            <a:ext cx="12192002" cy="6858000"/>
          </a:xfrm>
          <a:prstGeom prst="rect">
            <a:avLst/>
          </a:prstGeom>
          <a:solidFill>
            <a:srgbClr val="1A9B6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7" name="Rechthoek 6">
            <a:extLst>
              <a:ext uri="{FF2B5EF4-FFF2-40B4-BE49-F238E27FC236}">
                <a16:creationId xmlns:a16="http://schemas.microsoft.com/office/drawing/2014/main" id="{418C11A7-7707-4FDB-AF3E-E7B99C742AE7}"/>
              </a:ext>
            </a:extLst>
          </p:cNvPr>
          <p:cNvSpPr/>
          <p:nvPr/>
        </p:nvSpPr>
        <p:spPr>
          <a:xfrm>
            <a:off x="0" y="4883085"/>
            <a:ext cx="12192000" cy="1332658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11" name="Afbeelding 10" descr="Afbeelding met spel, tekening&#10;&#10;Automatisch gegenereerde beschrijving">
            <a:extLst>
              <a:ext uri="{FF2B5EF4-FFF2-40B4-BE49-F238E27FC236}">
                <a16:creationId xmlns:a16="http://schemas.microsoft.com/office/drawing/2014/main" id="{8F6EF50E-877B-4E55-A0A4-36E3AACF263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" y="4895044"/>
            <a:ext cx="4421172" cy="1308740"/>
          </a:xfrm>
          <a:prstGeom prst="rect">
            <a:avLst/>
          </a:prstGeom>
        </p:spPr>
      </p:pic>
      <p:sp>
        <p:nvSpPr>
          <p:cNvPr id="13" name="Ovaal 12">
            <a:extLst>
              <a:ext uri="{FF2B5EF4-FFF2-40B4-BE49-F238E27FC236}">
                <a16:creationId xmlns:a16="http://schemas.microsoft.com/office/drawing/2014/main" id="{ADDCD5F7-FE2C-43E5-9B74-FDE1B8901B8D}"/>
              </a:ext>
            </a:extLst>
          </p:cNvPr>
          <p:cNvSpPr/>
          <p:nvPr/>
        </p:nvSpPr>
        <p:spPr>
          <a:xfrm>
            <a:off x="6964681" y="3322322"/>
            <a:ext cx="8071506" cy="7452361"/>
          </a:xfrm>
          <a:prstGeom prst="ellipse">
            <a:avLst/>
          </a:prstGeom>
          <a:noFill/>
          <a:ln w="76200">
            <a:solidFill>
              <a:srgbClr val="FAB6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12DE98D4-FD01-42D1-9B6E-0508C185797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4850" y="700466"/>
            <a:ext cx="7216406" cy="2131566"/>
          </a:xfrm>
        </p:spPr>
        <p:txBody>
          <a:bodyPr/>
          <a:lstStyle/>
          <a:p>
            <a:pPr eaLnBrk="0" fontAlgn="base" hangingPunct="0">
              <a:spcAft>
                <a:spcPct val="0"/>
              </a:spcAft>
            </a:pPr>
            <a:r>
              <a:rPr lang="nl-NL" dirty="0">
                <a:latin typeface="Fieldwork 06 Geo Bold" pitchFamily="50" charset="0"/>
              </a:rPr>
              <a:t>For a </a:t>
            </a:r>
            <a:r>
              <a:rPr lang="nl-NL" dirty="0" err="1">
                <a:solidFill>
                  <a:srgbClr val="FAB600"/>
                </a:solidFill>
                <a:latin typeface="Fieldwork 06 Geo Bold" pitchFamily="50" charset="0"/>
              </a:rPr>
              <a:t>succesful</a:t>
            </a:r>
            <a:r>
              <a:rPr lang="nl-NL" dirty="0">
                <a:solidFill>
                  <a:srgbClr val="FAB600"/>
                </a:solidFill>
                <a:latin typeface="Fieldwork 06 Geo Bold" pitchFamily="50" charset="0"/>
              </a:rPr>
              <a:t> </a:t>
            </a:r>
            <a:r>
              <a:rPr lang="nl-NL" dirty="0">
                <a:latin typeface="Fieldwork 06 Geo Bold" pitchFamily="50" charset="0"/>
              </a:rPr>
              <a:t>cooperation</a:t>
            </a:r>
            <a:endParaRPr lang="nl-NL" dirty="0">
              <a:latin typeface="Fieldwork 06 Geo Bold" pitchFamily="50" charset="0"/>
              <a:ea typeface="ＭＳ Ｐゴシック" charset="0"/>
            </a:endParaRPr>
          </a:p>
        </p:txBody>
      </p:sp>
      <p:sp>
        <p:nvSpPr>
          <p:cNvPr id="8" name="Tekstvak 7">
            <a:extLst>
              <a:ext uri="{FF2B5EF4-FFF2-40B4-BE49-F238E27FC236}">
                <a16:creationId xmlns:a16="http://schemas.microsoft.com/office/drawing/2014/main" id="{2EC152DF-7042-4FD6-9CA9-4ED12979955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275587" y="5337048"/>
            <a:ext cx="3280144" cy="424732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9pPr>
          </a:lstStyle>
          <a:p>
            <a:pPr eaLnBrk="1" hangingPunct="1">
              <a:lnSpc>
                <a:spcPct val="90000"/>
              </a:lnSpc>
              <a:defRPr/>
            </a:pPr>
            <a:r>
              <a:rPr lang="en-GB" sz="2400">
                <a:solidFill>
                  <a:srgbClr val="182359"/>
                </a:solidFill>
                <a:latin typeface="Fieldwork Geo Regular" pitchFamily="2" charset="77"/>
                <a:cs typeface="Fieldwork"/>
              </a:rPr>
              <a:t>www.copernicos.com</a:t>
            </a:r>
          </a:p>
        </p:txBody>
      </p:sp>
    </p:spTree>
    <p:extLst>
      <p:ext uri="{BB962C8B-B14F-4D97-AF65-F5344CB8AC3E}">
        <p14:creationId xmlns:p14="http://schemas.microsoft.com/office/powerpoint/2010/main" val="412279017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170B3CF6-E1DB-4739-BB8F-9DD65598BE5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>
                <a:latin typeface="Fieldwork 06 Geo Bold"/>
              </a:rPr>
              <a:t>Physical assets (examples)</a:t>
            </a:r>
          </a:p>
        </p:txBody>
      </p:sp>
      <p:pic>
        <p:nvPicPr>
          <p:cNvPr id="6" name="Afbeelding 5" descr="Afbeelding met water, buiten, boot, vaartuig&#10;&#10;Automatisch gegenereerde beschrijving">
            <a:extLst>
              <a:ext uri="{FF2B5EF4-FFF2-40B4-BE49-F238E27FC236}">
                <a16:creationId xmlns:a16="http://schemas.microsoft.com/office/drawing/2014/main" id="{A1B4152A-E7A6-D3AA-E952-9EA550EB2EC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435385" y="1595820"/>
            <a:ext cx="2319395" cy="1656711"/>
          </a:xfrm>
          <a:prstGeom prst="rect">
            <a:avLst/>
          </a:prstGeom>
        </p:spPr>
      </p:pic>
      <p:pic>
        <p:nvPicPr>
          <p:cNvPr id="8" name="Afbeelding 7">
            <a:extLst>
              <a:ext uri="{FF2B5EF4-FFF2-40B4-BE49-F238E27FC236}">
                <a16:creationId xmlns:a16="http://schemas.microsoft.com/office/drawing/2014/main" id="{4C946A12-034D-82B7-E4BC-0965F4E524E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96231" y="2245523"/>
            <a:ext cx="2845024" cy="1896682"/>
          </a:xfrm>
          <a:prstGeom prst="rect">
            <a:avLst/>
          </a:prstGeom>
        </p:spPr>
      </p:pic>
      <p:pic>
        <p:nvPicPr>
          <p:cNvPr id="10" name="Afbeelding 9" descr="Afbeelding met gras, buiten, klaverblad&#10;&#10;Automatisch gegenereerde beschrijving">
            <a:extLst>
              <a:ext uri="{FF2B5EF4-FFF2-40B4-BE49-F238E27FC236}">
                <a16:creationId xmlns:a16="http://schemas.microsoft.com/office/drawing/2014/main" id="{2D5948C8-FDCF-CEFA-0747-1316BE5CC0C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474252" y="1595820"/>
            <a:ext cx="2692485" cy="1896682"/>
          </a:xfrm>
          <a:prstGeom prst="rect">
            <a:avLst/>
          </a:prstGeom>
        </p:spPr>
      </p:pic>
      <p:pic>
        <p:nvPicPr>
          <p:cNvPr id="12" name="Afbeelding 11" descr="Afbeelding met buiten, gras&#10;&#10;Automatisch gegenereerde beschrijving">
            <a:extLst>
              <a:ext uri="{FF2B5EF4-FFF2-40B4-BE49-F238E27FC236}">
                <a16:creationId xmlns:a16="http://schemas.microsoft.com/office/drawing/2014/main" id="{C3FE3D75-350F-1F31-5EE5-CF350FBA3BDD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642624" y="3323212"/>
            <a:ext cx="2709334" cy="2032000"/>
          </a:xfrm>
          <a:prstGeom prst="rect">
            <a:avLst/>
          </a:prstGeom>
        </p:spPr>
      </p:pic>
      <p:pic>
        <p:nvPicPr>
          <p:cNvPr id="16" name="Afbeelding 15" descr="Afbeelding met buiten, natuur, weg&#10;&#10;Automatisch gegenereerde beschrijving">
            <a:extLst>
              <a:ext uri="{FF2B5EF4-FFF2-40B4-BE49-F238E27FC236}">
                <a16:creationId xmlns:a16="http://schemas.microsoft.com/office/drawing/2014/main" id="{76476C96-9E3B-71A9-0E7F-B1BCD0330EAB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289031" y="2118234"/>
            <a:ext cx="2456981" cy="1637987"/>
          </a:xfrm>
          <a:prstGeom prst="rect">
            <a:avLst/>
          </a:prstGeom>
        </p:spPr>
      </p:pic>
      <p:pic>
        <p:nvPicPr>
          <p:cNvPr id="20" name="Afbeelding 19" descr="Afbeelding met water, boot, buiten, lucht&#10;&#10;Automatisch gegenereerde beschrijving">
            <a:extLst>
              <a:ext uri="{FF2B5EF4-FFF2-40B4-BE49-F238E27FC236}">
                <a16:creationId xmlns:a16="http://schemas.microsoft.com/office/drawing/2014/main" id="{FC69C362-0DEC-C067-84B1-5F1ECFF994EF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29024" y="4761641"/>
            <a:ext cx="2883241" cy="1923698"/>
          </a:xfrm>
          <a:prstGeom prst="rect">
            <a:avLst/>
          </a:prstGeom>
        </p:spPr>
      </p:pic>
      <p:pic>
        <p:nvPicPr>
          <p:cNvPr id="24" name="Afbeelding 23" descr="Afbeelding met buiten, lucht, water, boot&#10;&#10;Automatisch gegenereerde beschrijving">
            <a:extLst>
              <a:ext uri="{FF2B5EF4-FFF2-40B4-BE49-F238E27FC236}">
                <a16:creationId xmlns:a16="http://schemas.microsoft.com/office/drawing/2014/main" id="{D526C129-4285-A28F-A5A1-95633AD563A2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675507" y="3882257"/>
            <a:ext cx="2883241" cy="19216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386009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76CA697A-3C15-CFBF-2611-EF78DC42017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>
                <a:latin typeface="Fieldwork 06 Geo Bold" pitchFamily="50" charset="0"/>
              </a:rPr>
              <a:t>Asset </a:t>
            </a:r>
            <a:r>
              <a:rPr lang="nl-NL" dirty="0" err="1">
                <a:latin typeface="Fieldwork 06 Geo Bold" pitchFamily="50" charset="0"/>
              </a:rPr>
              <a:t>dynamics</a:t>
            </a:r>
            <a:endParaRPr lang="nl-NL" dirty="0"/>
          </a:p>
        </p:txBody>
      </p:sp>
      <p:sp>
        <p:nvSpPr>
          <p:cNvPr id="2" name="Rechthoek 1">
            <a:extLst>
              <a:ext uri="{FF2B5EF4-FFF2-40B4-BE49-F238E27FC236}">
                <a16:creationId xmlns:a16="http://schemas.microsoft.com/office/drawing/2014/main" id="{86098922-72DE-9748-1DC5-FED7FFD5B0C6}"/>
              </a:ext>
            </a:extLst>
          </p:cNvPr>
          <p:cNvSpPr/>
          <p:nvPr/>
        </p:nvSpPr>
        <p:spPr>
          <a:xfrm>
            <a:off x="4955858" y="3070412"/>
            <a:ext cx="2689934" cy="1367162"/>
          </a:xfrm>
          <a:prstGeom prst="rect">
            <a:avLst/>
          </a:prstGeom>
          <a:solidFill>
            <a:srgbClr val="00206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NL" dirty="0" err="1"/>
              <a:t>Exploitation</a:t>
            </a:r>
            <a:endParaRPr lang="nl-NL" dirty="0"/>
          </a:p>
          <a:p>
            <a:pPr algn="ctr"/>
            <a:r>
              <a:rPr lang="nl-NL" dirty="0" err="1"/>
              <a:t>Phase</a:t>
            </a:r>
            <a:endParaRPr lang="nl-NL" dirty="0"/>
          </a:p>
        </p:txBody>
      </p:sp>
      <p:sp>
        <p:nvSpPr>
          <p:cNvPr id="5" name="Rechthoek 4">
            <a:extLst>
              <a:ext uri="{FF2B5EF4-FFF2-40B4-BE49-F238E27FC236}">
                <a16:creationId xmlns:a16="http://schemas.microsoft.com/office/drawing/2014/main" id="{A8B57F2D-C464-D948-8054-88A7261C118C}"/>
              </a:ext>
            </a:extLst>
          </p:cNvPr>
          <p:cNvSpPr/>
          <p:nvPr/>
        </p:nvSpPr>
        <p:spPr>
          <a:xfrm>
            <a:off x="4955858" y="2565815"/>
            <a:ext cx="2689934" cy="504598"/>
          </a:xfrm>
          <a:prstGeom prst="rect">
            <a:avLst/>
          </a:prstGeom>
          <a:solidFill>
            <a:srgbClr val="00206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NL" sz="1600" dirty="0" err="1"/>
              <a:t>Use</a:t>
            </a:r>
            <a:r>
              <a:rPr lang="nl-NL" sz="1600" dirty="0"/>
              <a:t> &amp; </a:t>
            </a:r>
            <a:r>
              <a:rPr lang="nl-NL" sz="1600" dirty="0" err="1"/>
              <a:t>Maintain</a:t>
            </a:r>
            <a:endParaRPr lang="nl-NL" sz="1600" dirty="0"/>
          </a:p>
        </p:txBody>
      </p:sp>
      <p:grpSp>
        <p:nvGrpSpPr>
          <p:cNvPr id="6" name="Groep 5">
            <a:extLst>
              <a:ext uri="{FF2B5EF4-FFF2-40B4-BE49-F238E27FC236}">
                <a16:creationId xmlns:a16="http://schemas.microsoft.com/office/drawing/2014/main" id="{8FE6D4CF-E66E-B726-9B85-F2EBD2A43BB8}"/>
              </a:ext>
            </a:extLst>
          </p:cNvPr>
          <p:cNvGrpSpPr/>
          <p:nvPr/>
        </p:nvGrpSpPr>
        <p:grpSpPr>
          <a:xfrm>
            <a:off x="3570941" y="2565815"/>
            <a:ext cx="1384917" cy="1871759"/>
            <a:chOff x="4074850" y="2629220"/>
            <a:chExt cx="1384917" cy="1871759"/>
          </a:xfrm>
        </p:grpSpPr>
        <p:sp>
          <p:nvSpPr>
            <p:cNvPr id="7" name="Rechthoek 6">
              <a:extLst>
                <a:ext uri="{FF2B5EF4-FFF2-40B4-BE49-F238E27FC236}">
                  <a16:creationId xmlns:a16="http://schemas.microsoft.com/office/drawing/2014/main" id="{4D16FEF7-7A24-A0A0-49ED-0902A5A3D61B}"/>
                </a:ext>
              </a:extLst>
            </p:cNvPr>
            <p:cNvSpPr/>
            <p:nvPr/>
          </p:nvSpPr>
          <p:spPr>
            <a:xfrm>
              <a:off x="4074850" y="3133817"/>
              <a:ext cx="1384917" cy="1367162"/>
            </a:xfrm>
            <a:prstGeom prst="rect">
              <a:avLst/>
            </a:prstGeom>
          </p:spPr>
          <p:style>
            <a:lnRef idx="2">
              <a:schemeClr val="accent6">
                <a:shade val="50000"/>
              </a:schemeClr>
            </a:lnRef>
            <a:fillRef idx="1">
              <a:schemeClr val="accent6"/>
            </a:fillRef>
            <a:effectRef idx="0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nl-NL" dirty="0"/>
                <a:t>Contract</a:t>
              </a:r>
            </a:p>
            <a:p>
              <a:pPr algn="ctr"/>
              <a:r>
                <a:rPr lang="nl-NL" dirty="0" err="1"/>
                <a:t>Phase</a:t>
              </a:r>
              <a:endParaRPr lang="nl-NL" dirty="0"/>
            </a:p>
          </p:txBody>
        </p:sp>
        <p:sp>
          <p:nvSpPr>
            <p:cNvPr id="8" name="Rechthoek 7">
              <a:extLst>
                <a:ext uri="{FF2B5EF4-FFF2-40B4-BE49-F238E27FC236}">
                  <a16:creationId xmlns:a16="http://schemas.microsoft.com/office/drawing/2014/main" id="{46DAA433-20FD-957E-2481-4FB1A9FA501D}"/>
                </a:ext>
              </a:extLst>
            </p:cNvPr>
            <p:cNvSpPr/>
            <p:nvPr/>
          </p:nvSpPr>
          <p:spPr>
            <a:xfrm>
              <a:off x="4074850" y="2629220"/>
              <a:ext cx="1384917" cy="504598"/>
            </a:xfrm>
            <a:prstGeom prst="rect">
              <a:avLst/>
            </a:prstGeom>
          </p:spPr>
          <p:style>
            <a:lnRef idx="2">
              <a:schemeClr val="accent6">
                <a:shade val="50000"/>
              </a:schemeClr>
            </a:lnRef>
            <a:fillRef idx="1">
              <a:schemeClr val="accent6"/>
            </a:fillRef>
            <a:effectRef idx="0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nl-NL" sz="1600" dirty="0"/>
                <a:t>Construct</a:t>
              </a:r>
            </a:p>
          </p:txBody>
        </p:sp>
      </p:grpSp>
      <p:grpSp>
        <p:nvGrpSpPr>
          <p:cNvPr id="9" name="Groep 8">
            <a:extLst>
              <a:ext uri="{FF2B5EF4-FFF2-40B4-BE49-F238E27FC236}">
                <a16:creationId xmlns:a16="http://schemas.microsoft.com/office/drawing/2014/main" id="{D2575CF4-9A78-730A-6882-5F344C86FC6B}"/>
              </a:ext>
            </a:extLst>
          </p:cNvPr>
          <p:cNvGrpSpPr/>
          <p:nvPr/>
        </p:nvGrpSpPr>
        <p:grpSpPr>
          <a:xfrm>
            <a:off x="2186024" y="2569020"/>
            <a:ext cx="1384917" cy="1868554"/>
            <a:chOff x="2689933" y="2632425"/>
            <a:chExt cx="1384917" cy="1868554"/>
          </a:xfrm>
        </p:grpSpPr>
        <p:sp>
          <p:nvSpPr>
            <p:cNvPr id="10" name="Rechthoek 9">
              <a:extLst>
                <a:ext uri="{FF2B5EF4-FFF2-40B4-BE49-F238E27FC236}">
                  <a16:creationId xmlns:a16="http://schemas.microsoft.com/office/drawing/2014/main" id="{87AD00F8-BFA6-C0FF-368B-E79E8EFB6368}"/>
                </a:ext>
              </a:extLst>
            </p:cNvPr>
            <p:cNvSpPr/>
            <p:nvPr/>
          </p:nvSpPr>
          <p:spPr>
            <a:xfrm>
              <a:off x="2689933" y="3133817"/>
              <a:ext cx="1384917" cy="1367162"/>
            </a:xfrm>
            <a:prstGeom prst="rect">
              <a:avLst/>
            </a:prstGeom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nl-NL" dirty="0"/>
                <a:t>Project</a:t>
              </a:r>
            </a:p>
            <a:p>
              <a:pPr algn="ctr"/>
              <a:r>
                <a:rPr lang="nl-NL" dirty="0" err="1"/>
                <a:t>Phase</a:t>
              </a:r>
              <a:endParaRPr lang="nl-NL" dirty="0"/>
            </a:p>
          </p:txBody>
        </p:sp>
        <p:sp>
          <p:nvSpPr>
            <p:cNvPr id="11" name="Rechthoek 10">
              <a:extLst>
                <a:ext uri="{FF2B5EF4-FFF2-40B4-BE49-F238E27FC236}">
                  <a16:creationId xmlns:a16="http://schemas.microsoft.com/office/drawing/2014/main" id="{521C8844-8F6F-75BF-8565-F95300A02D86}"/>
                </a:ext>
              </a:extLst>
            </p:cNvPr>
            <p:cNvSpPr/>
            <p:nvPr/>
          </p:nvSpPr>
          <p:spPr>
            <a:xfrm>
              <a:off x="2689933" y="2632425"/>
              <a:ext cx="1384917" cy="501393"/>
            </a:xfrm>
            <a:prstGeom prst="rect">
              <a:avLst/>
            </a:prstGeom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nl-NL" sz="1600" dirty="0"/>
                <a:t>Engineer</a:t>
              </a:r>
            </a:p>
          </p:txBody>
        </p:sp>
      </p:grpSp>
      <p:grpSp>
        <p:nvGrpSpPr>
          <p:cNvPr id="12" name="Groep 11">
            <a:extLst>
              <a:ext uri="{FF2B5EF4-FFF2-40B4-BE49-F238E27FC236}">
                <a16:creationId xmlns:a16="http://schemas.microsoft.com/office/drawing/2014/main" id="{4E4C88C9-55C4-586F-8A7B-A67FFD79337A}"/>
              </a:ext>
            </a:extLst>
          </p:cNvPr>
          <p:cNvGrpSpPr/>
          <p:nvPr/>
        </p:nvGrpSpPr>
        <p:grpSpPr>
          <a:xfrm>
            <a:off x="801107" y="2569021"/>
            <a:ext cx="1384917" cy="1865347"/>
            <a:chOff x="1305016" y="2632426"/>
            <a:chExt cx="1384917" cy="1865347"/>
          </a:xfrm>
        </p:grpSpPr>
        <p:sp>
          <p:nvSpPr>
            <p:cNvPr id="13" name="Rechthoek 12">
              <a:extLst>
                <a:ext uri="{FF2B5EF4-FFF2-40B4-BE49-F238E27FC236}">
                  <a16:creationId xmlns:a16="http://schemas.microsoft.com/office/drawing/2014/main" id="{B95A1F4B-21C7-F510-A04F-6B23A24391E3}"/>
                </a:ext>
              </a:extLst>
            </p:cNvPr>
            <p:cNvSpPr/>
            <p:nvPr/>
          </p:nvSpPr>
          <p:spPr>
            <a:xfrm>
              <a:off x="1305016" y="3130611"/>
              <a:ext cx="1384917" cy="1367162"/>
            </a:xfrm>
            <a:prstGeom prst="rect">
              <a:avLst/>
            </a:prstGeom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nl-NL" dirty="0"/>
                <a:t>Concept</a:t>
              </a:r>
            </a:p>
            <a:p>
              <a:pPr algn="ctr"/>
              <a:r>
                <a:rPr lang="nl-NL" dirty="0" err="1"/>
                <a:t>Phase</a:t>
              </a:r>
              <a:endParaRPr lang="nl-NL" dirty="0"/>
            </a:p>
          </p:txBody>
        </p:sp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F5E65EC0-1187-7550-64C4-0EFF4EEF6A6B}"/>
                </a:ext>
              </a:extLst>
            </p:cNvPr>
            <p:cNvSpPr/>
            <p:nvPr/>
          </p:nvSpPr>
          <p:spPr>
            <a:xfrm>
              <a:off x="1305016" y="2632426"/>
              <a:ext cx="1384917" cy="498186"/>
            </a:xfrm>
            <a:prstGeom prst="rect">
              <a:avLst/>
            </a:prstGeom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nl-NL" sz="1600" dirty="0"/>
                <a:t>Design</a:t>
              </a:r>
            </a:p>
          </p:txBody>
        </p:sp>
      </p:grpSp>
      <p:sp>
        <p:nvSpPr>
          <p:cNvPr id="16" name="Pijl: rechts 15">
            <a:extLst>
              <a:ext uri="{FF2B5EF4-FFF2-40B4-BE49-F238E27FC236}">
                <a16:creationId xmlns:a16="http://schemas.microsoft.com/office/drawing/2014/main" id="{1BDFA149-32A8-E71F-60D0-253279FCC9EB}"/>
              </a:ext>
            </a:extLst>
          </p:cNvPr>
          <p:cNvSpPr/>
          <p:nvPr/>
        </p:nvSpPr>
        <p:spPr>
          <a:xfrm>
            <a:off x="801107" y="4536875"/>
            <a:ext cx="8359985" cy="507161"/>
          </a:xfrm>
          <a:prstGeom prst="rightArrow">
            <a:avLst/>
          </a:prstGeom>
          <a:solidFill>
            <a:schemeClr val="bg2"/>
          </a:solidFill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nl-NL" dirty="0">
                <a:latin typeface="Fieldwork 02 Geo Thin" pitchFamily="50" charset="0"/>
              </a:rPr>
              <a:t>Effects on remaining life cycle</a:t>
            </a:r>
          </a:p>
        </p:txBody>
      </p:sp>
      <p:sp>
        <p:nvSpPr>
          <p:cNvPr id="17" name="Pijl: links 16">
            <a:extLst>
              <a:ext uri="{FF2B5EF4-FFF2-40B4-BE49-F238E27FC236}">
                <a16:creationId xmlns:a16="http://schemas.microsoft.com/office/drawing/2014/main" id="{263E7081-3E02-EDA2-1F44-ED4626A80C53}"/>
              </a:ext>
            </a:extLst>
          </p:cNvPr>
          <p:cNvSpPr/>
          <p:nvPr/>
        </p:nvSpPr>
        <p:spPr>
          <a:xfrm>
            <a:off x="801106" y="2024588"/>
            <a:ext cx="8359986" cy="481490"/>
          </a:xfrm>
          <a:prstGeom prst="leftArrow">
            <a:avLst/>
          </a:prstGeom>
          <a:solidFill>
            <a:schemeClr val="bg2"/>
          </a:solidFill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nl-NL" dirty="0">
                <a:latin typeface="Fieldwork 02 Geo Thin" pitchFamily="50" charset="0"/>
              </a:rPr>
              <a:t>Feedback</a:t>
            </a:r>
          </a:p>
        </p:txBody>
      </p:sp>
      <p:grpSp>
        <p:nvGrpSpPr>
          <p:cNvPr id="18" name="Groep 17">
            <a:extLst>
              <a:ext uri="{FF2B5EF4-FFF2-40B4-BE49-F238E27FC236}">
                <a16:creationId xmlns:a16="http://schemas.microsoft.com/office/drawing/2014/main" id="{4251088C-94E4-12A6-5E98-761B21B41C32}"/>
              </a:ext>
            </a:extLst>
          </p:cNvPr>
          <p:cNvGrpSpPr/>
          <p:nvPr/>
        </p:nvGrpSpPr>
        <p:grpSpPr>
          <a:xfrm>
            <a:off x="7655633" y="2569020"/>
            <a:ext cx="1505459" cy="1865348"/>
            <a:chOff x="4074850" y="2635631"/>
            <a:chExt cx="1505459" cy="1865348"/>
          </a:xfrm>
        </p:grpSpPr>
        <p:sp>
          <p:nvSpPr>
            <p:cNvPr id="19" name="Rechthoek 18">
              <a:extLst>
                <a:ext uri="{FF2B5EF4-FFF2-40B4-BE49-F238E27FC236}">
                  <a16:creationId xmlns:a16="http://schemas.microsoft.com/office/drawing/2014/main" id="{0632D0BF-06AC-4550-2217-8D2926A26F69}"/>
                </a:ext>
              </a:extLst>
            </p:cNvPr>
            <p:cNvSpPr/>
            <p:nvPr/>
          </p:nvSpPr>
          <p:spPr>
            <a:xfrm>
              <a:off x="4074850" y="3133817"/>
              <a:ext cx="1505459" cy="1367162"/>
            </a:xfrm>
            <a:prstGeom prst="rect">
              <a:avLst/>
            </a:prstGeom>
            <a:solidFill>
              <a:schemeClr val="accent4"/>
            </a:solidFill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nl-NL" dirty="0" err="1">
                  <a:solidFill>
                    <a:schemeClr val="bg1"/>
                  </a:solidFill>
                </a:rPr>
                <a:t>Recirculation</a:t>
              </a:r>
              <a:r>
                <a:rPr lang="nl-NL" dirty="0">
                  <a:solidFill>
                    <a:schemeClr val="bg1"/>
                  </a:solidFill>
                </a:rPr>
                <a:t> </a:t>
              </a:r>
              <a:r>
                <a:rPr lang="nl-NL" dirty="0" err="1">
                  <a:solidFill>
                    <a:schemeClr val="bg1"/>
                  </a:solidFill>
                </a:rPr>
                <a:t>Phase</a:t>
              </a:r>
              <a:endParaRPr lang="nl-NL" dirty="0">
                <a:solidFill>
                  <a:schemeClr val="bg1"/>
                </a:solidFill>
              </a:endParaRPr>
            </a:p>
          </p:txBody>
        </p:sp>
        <p:sp>
          <p:nvSpPr>
            <p:cNvPr id="20" name="Rechthoek 19">
              <a:extLst>
                <a:ext uri="{FF2B5EF4-FFF2-40B4-BE49-F238E27FC236}">
                  <a16:creationId xmlns:a16="http://schemas.microsoft.com/office/drawing/2014/main" id="{59A5B4A7-3308-8EDD-CF45-3BBAFE51E739}"/>
                </a:ext>
              </a:extLst>
            </p:cNvPr>
            <p:cNvSpPr/>
            <p:nvPr/>
          </p:nvSpPr>
          <p:spPr>
            <a:xfrm>
              <a:off x="4074850" y="2635631"/>
              <a:ext cx="1505459" cy="498186"/>
            </a:xfrm>
            <a:prstGeom prst="rect">
              <a:avLst/>
            </a:prstGeom>
            <a:solidFill>
              <a:schemeClr val="accent4"/>
            </a:solidFill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nl-NL" sz="1600" dirty="0">
                  <a:solidFill>
                    <a:schemeClr val="bg1"/>
                  </a:solidFill>
                </a:rPr>
                <a:t>Re-</a:t>
              </a:r>
              <a:r>
                <a:rPr lang="nl-NL" sz="1600" dirty="0" err="1">
                  <a:solidFill>
                    <a:schemeClr val="bg1"/>
                  </a:solidFill>
                </a:rPr>
                <a:t>use</a:t>
              </a:r>
              <a:endParaRPr lang="nl-NL" sz="1600" dirty="0">
                <a:solidFill>
                  <a:schemeClr val="bg1"/>
                </a:solidFill>
              </a:endParaRPr>
            </a:p>
          </p:txBody>
        </p:sp>
      </p:grpSp>
      <p:pic>
        <p:nvPicPr>
          <p:cNvPr id="3" name="Afbeelding 5" descr="Afbeelding met water, lucht, buiten, boot&#10;&#10;Automatisch gegenereerde beschrijving">
            <a:extLst>
              <a:ext uri="{FF2B5EF4-FFF2-40B4-BE49-F238E27FC236}">
                <a16:creationId xmlns:a16="http://schemas.microsoft.com/office/drawing/2014/main" id="{D644CC08-959A-BE05-A1AD-A7543E653FEF}"/>
              </a:ext>
            </a:extLst>
          </p:cNvPr>
          <p:cNvPicPr>
            <a:picLocks noChangeAspect="1"/>
          </p:cNvPicPr>
          <p:nvPr/>
        </p:nvPicPr>
        <p:blipFill>
          <a:blip r:embed="rId3">
            <a:duotone>
              <a:schemeClr val="bg2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7783082" y="5170319"/>
            <a:ext cx="1670145" cy="1307910"/>
          </a:xfrm>
          <a:prstGeom prst="rect">
            <a:avLst/>
          </a:prstGeom>
        </p:spPr>
      </p:pic>
      <p:pic>
        <p:nvPicPr>
          <p:cNvPr id="21" name="Afbeelding 6" descr="Afbeelding met boot, water, buiten, schip&#10;&#10;Automatisch gegenereerde beschrijving">
            <a:extLst>
              <a:ext uri="{FF2B5EF4-FFF2-40B4-BE49-F238E27FC236}">
                <a16:creationId xmlns:a16="http://schemas.microsoft.com/office/drawing/2014/main" id="{3AB75910-1397-483C-B279-C12DC84D9E58}"/>
              </a:ext>
            </a:extLst>
          </p:cNvPr>
          <p:cNvPicPr>
            <a:picLocks noChangeAspect="1"/>
          </p:cNvPicPr>
          <p:nvPr/>
        </p:nvPicPr>
        <p:blipFill>
          <a:blip r:embed="rId4">
            <a:duotone>
              <a:schemeClr val="bg2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6050927" y="5170319"/>
            <a:ext cx="1686905" cy="1307910"/>
          </a:xfrm>
          <a:prstGeom prst="rect">
            <a:avLst/>
          </a:prstGeom>
        </p:spPr>
      </p:pic>
      <p:pic>
        <p:nvPicPr>
          <p:cNvPr id="22" name="Afbeelding 7">
            <a:extLst>
              <a:ext uri="{FF2B5EF4-FFF2-40B4-BE49-F238E27FC236}">
                <a16:creationId xmlns:a16="http://schemas.microsoft.com/office/drawing/2014/main" id="{1A036637-0605-359B-66D2-8081DF249652}"/>
              </a:ext>
            </a:extLst>
          </p:cNvPr>
          <p:cNvPicPr>
            <a:picLocks noChangeAspect="1"/>
          </p:cNvPicPr>
          <p:nvPr/>
        </p:nvPicPr>
        <p:blipFill>
          <a:blip r:embed="rId5">
            <a:duotone>
              <a:schemeClr val="bg2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571119" y="5157194"/>
            <a:ext cx="1686905" cy="1321035"/>
          </a:xfrm>
          <a:prstGeom prst="rect">
            <a:avLst/>
          </a:prstGeom>
        </p:spPr>
      </p:pic>
      <p:pic>
        <p:nvPicPr>
          <p:cNvPr id="23" name="Afbeelding 8" descr="Afbeelding met water, buiten, lucht, schip&#10;&#10;Automatisch gegenereerde beschrijving">
            <a:extLst>
              <a:ext uri="{FF2B5EF4-FFF2-40B4-BE49-F238E27FC236}">
                <a16:creationId xmlns:a16="http://schemas.microsoft.com/office/drawing/2014/main" id="{900FF92B-A2CF-280B-FA8F-85DD846BA7B3}"/>
              </a:ext>
            </a:extLst>
          </p:cNvPr>
          <p:cNvPicPr>
            <a:picLocks noChangeAspect="1"/>
          </p:cNvPicPr>
          <p:nvPr/>
        </p:nvPicPr>
        <p:blipFill>
          <a:blip r:embed="rId6">
            <a:duotone>
              <a:schemeClr val="bg2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4318771" y="5157194"/>
            <a:ext cx="1686906" cy="1321036"/>
          </a:xfrm>
          <a:prstGeom prst="rect">
            <a:avLst/>
          </a:prstGeom>
        </p:spPr>
      </p:pic>
      <p:pic>
        <p:nvPicPr>
          <p:cNvPr id="24" name="Afbeelding 10" descr="Afbeelding met water, buiten, lucht, schip&#10;&#10;Automatisch gegenereerde beschrijving">
            <a:extLst>
              <a:ext uri="{FF2B5EF4-FFF2-40B4-BE49-F238E27FC236}">
                <a16:creationId xmlns:a16="http://schemas.microsoft.com/office/drawing/2014/main" id="{ECC523BA-BA4A-EF09-AD3F-F6D565B3C4D9}"/>
              </a:ext>
            </a:extLst>
          </p:cNvPr>
          <p:cNvPicPr>
            <a:picLocks noChangeAspect="1"/>
          </p:cNvPicPr>
          <p:nvPr/>
        </p:nvPicPr>
        <p:blipFill>
          <a:blip r:embed="rId7">
            <a:alphaModFix amt="55000"/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colorTemperature colorTemp="2774"/>
                    </a14:imgEffect>
                    <a14:imgEffect>
                      <a14:saturation sat="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2303274" y="5157194"/>
            <a:ext cx="1970247" cy="1321035"/>
          </a:xfrm>
          <a:prstGeom prst="rect">
            <a:avLst/>
          </a:prstGeom>
        </p:spPr>
      </p:pic>
      <p:sp>
        <p:nvSpPr>
          <p:cNvPr id="28" name="Rectangle 27">
            <a:extLst>
              <a:ext uri="{FF2B5EF4-FFF2-40B4-BE49-F238E27FC236}">
                <a16:creationId xmlns:a16="http://schemas.microsoft.com/office/drawing/2014/main" id="{618BEA30-56DD-AD57-0A1D-A170826508BD}"/>
              </a:ext>
            </a:extLst>
          </p:cNvPr>
          <p:cNvSpPr/>
          <p:nvPr/>
        </p:nvSpPr>
        <p:spPr>
          <a:xfrm>
            <a:off x="3674442" y="2637914"/>
            <a:ext cx="5406057" cy="1692133"/>
          </a:xfrm>
          <a:prstGeom prst="rect">
            <a:avLst/>
          </a:prstGeom>
          <a:noFill/>
          <a:ln w="571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dirty="0"/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112818B7-DD24-B90B-F5FC-22D9BB41813D}"/>
              </a:ext>
            </a:extLst>
          </p:cNvPr>
          <p:cNvSpPr/>
          <p:nvPr/>
        </p:nvSpPr>
        <p:spPr>
          <a:xfrm>
            <a:off x="881007" y="2637914"/>
            <a:ext cx="1187172" cy="1692133"/>
          </a:xfrm>
          <a:prstGeom prst="rect">
            <a:avLst/>
          </a:prstGeom>
          <a:noFill/>
          <a:ln w="571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E59A9AA7-65E2-903D-3E3E-C5D680C5C37C}"/>
              </a:ext>
            </a:extLst>
          </p:cNvPr>
          <p:cNvSpPr txBox="1"/>
          <p:nvPr/>
        </p:nvSpPr>
        <p:spPr>
          <a:xfrm>
            <a:off x="5578630" y="1576990"/>
            <a:ext cx="2312736" cy="369332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r>
              <a:rPr lang="nl-NL" i="1" dirty="0">
                <a:latin typeface="Fieldwork 02 Geo Thin"/>
              </a:rPr>
              <a:t>Asset Dynamics model</a:t>
            </a:r>
          </a:p>
        </p:txBody>
      </p:sp>
      <p:cxnSp>
        <p:nvCxnSpPr>
          <p:cNvPr id="26" name="Straight Arrow Connector 25">
            <a:extLst>
              <a:ext uri="{FF2B5EF4-FFF2-40B4-BE49-F238E27FC236}">
                <a16:creationId xmlns:a16="http://schemas.microsoft.com/office/drawing/2014/main" id="{1BDAA33F-2AC3-F2D0-0742-155AC12D92AA}"/>
              </a:ext>
            </a:extLst>
          </p:cNvPr>
          <p:cNvCxnSpPr>
            <a:cxnSpLocks/>
            <a:stCxn id="28" idx="0"/>
            <a:endCxn id="15" idx="2"/>
          </p:cNvCxnSpPr>
          <p:nvPr/>
        </p:nvCxnSpPr>
        <p:spPr>
          <a:xfrm flipV="1">
            <a:off x="6377471" y="1946322"/>
            <a:ext cx="357527" cy="691592"/>
          </a:xfrm>
          <a:prstGeom prst="straightConnector1">
            <a:avLst/>
          </a:prstGeom>
          <a:ln w="5715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TextBox 31">
            <a:extLst>
              <a:ext uri="{FF2B5EF4-FFF2-40B4-BE49-F238E27FC236}">
                <a16:creationId xmlns:a16="http://schemas.microsoft.com/office/drawing/2014/main" id="{423A1D7C-FE1C-5E06-E0E4-1A2456A06493}"/>
              </a:ext>
            </a:extLst>
          </p:cNvPr>
          <p:cNvSpPr txBox="1"/>
          <p:nvPr/>
        </p:nvSpPr>
        <p:spPr>
          <a:xfrm>
            <a:off x="304408" y="1563008"/>
            <a:ext cx="3146517" cy="369332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r>
              <a:rPr lang="nl-NL" i="1" dirty="0">
                <a:latin typeface="Fieldwork 02 Geo Thin"/>
              </a:rPr>
              <a:t>Asset Dynamics A-</a:t>
            </a:r>
            <a:r>
              <a:rPr lang="nl-NL" i="1" dirty="0" err="1">
                <a:latin typeface="Fieldwork 02 Geo Thin"/>
              </a:rPr>
              <a:t>phase</a:t>
            </a:r>
            <a:r>
              <a:rPr lang="nl-NL" i="1" dirty="0">
                <a:latin typeface="Fieldwork 02 Geo Thin"/>
              </a:rPr>
              <a:t> model</a:t>
            </a:r>
          </a:p>
        </p:txBody>
      </p:sp>
      <p:cxnSp>
        <p:nvCxnSpPr>
          <p:cNvPr id="33" name="Straight Arrow Connector 32">
            <a:extLst>
              <a:ext uri="{FF2B5EF4-FFF2-40B4-BE49-F238E27FC236}">
                <a16:creationId xmlns:a16="http://schemas.microsoft.com/office/drawing/2014/main" id="{1A156AC9-D3D3-1D2A-D8CD-16221B3D6E8A}"/>
              </a:ext>
            </a:extLst>
          </p:cNvPr>
          <p:cNvCxnSpPr>
            <a:cxnSpLocks/>
            <a:stCxn id="29" idx="0"/>
            <a:endCxn id="32" idx="2"/>
          </p:cNvCxnSpPr>
          <p:nvPr/>
        </p:nvCxnSpPr>
        <p:spPr>
          <a:xfrm flipV="1">
            <a:off x="1474593" y="1932340"/>
            <a:ext cx="403074" cy="705574"/>
          </a:xfrm>
          <a:prstGeom prst="straightConnector1">
            <a:avLst/>
          </a:prstGeom>
          <a:ln w="5715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2347691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8" grpId="0" animBg="1"/>
      <p:bldP spid="28" grpId="1" animBg="1"/>
      <p:bldP spid="29" grpId="0" animBg="1"/>
      <p:bldP spid="15" grpId="0" animBg="1"/>
      <p:bldP spid="15" grpId="1" animBg="1"/>
      <p:bldP spid="32" grpId="0" animBg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tekst 2">
            <a:extLst>
              <a:ext uri="{FF2B5EF4-FFF2-40B4-BE49-F238E27FC236}">
                <a16:creationId xmlns:a16="http://schemas.microsoft.com/office/drawing/2014/main" id="{CB5AB11B-1C97-4328-BB6C-C7B7DBC9348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81038" y="2860124"/>
            <a:ext cx="5257800" cy="1127840"/>
          </a:xfrm>
        </p:spPr>
        <p:txBody>
          <a:bodyPr>
            <a:normAutofit/>
          </a:bodyPr>
          <a:lstStyle/>
          <a:p>
            <a:r>
              <a:rPr lang="en-US" sz="1800" i="1" dirty="0">
                <a:effectLst/>
                <a:latin typeface="Fieldwork 03 Geo Light"/>
                <a:ea typeface="Calibri" panose="020F0502020204030204" pitchFamily="34" charset="0"/>
                <a:cs typeface="Times New Roman" panose="02020603050405020304" pitchFamily="18" charset="0"/>
              </a:rPr>
              <a:t>A holistic simulation model to explore the availability and costs of military assets in the exploitation stage</a:t>
            </a: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56276F1A-519F-49B0-A512-A358A1F74DB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1041" y="1215476"/>
            <a:ext cx="5973432" cy="1480097"/>
          </a:xfrm>
        </p:spPr>
        <p:txBody>
          <a:bodyPr>
            <a:normAutofit/>
          </a:bodyPr>
          <a:lstStyle/>
          <a:p>
            <a:r>
              <a:rPr lang="nl-NL" sz="3600" dirty="0">
                <a:latin typeface="Fieldwork 06 Geo Bold" pitchFamily="50" charset="0"/>
              </a:rPr>
              <a:t>ADA model</a:t>
            </a:r>
          </a:p>
        </p:txBody>
      </p:sp>
    </p:spTree>
    <p:extLst>
      <p:ext uri="{BB962C8B-B14F-4D97-AF65-F5344CB8AC3E}">
        <p14:creationId xmlns:p14="http://schemas.microsoft.com/office/powerpoint/2010/main" val="415952267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4CB9638D-ECED-41AB-BB13-7783F77090B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4CB9638D-ECED-41AB-BB13-7783F77090B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el 3">
            <a:extLst>
              <a:ext uri="{FF2B5EF4-FFF2-40B4-BE49-F238E27FC236}">
                <a16:creationId xmlns:a16="http://schemas.microsoft.com/office/drawing/2014/main" id="{49EF1491-38AF-46FA-B46A-10987DFC7D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nl-NL" dirty="0">
                <a:latin typeface="Fieldwork 06 Geo Bold"/>
              </a:rPr>
              <a:t>What?</a:t>
            </a:r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56C0CA39-5A82-C711-A2D9-5A1A77747630}"/>
              </a:ext>
            </a:extLst>
          </p:cNvPr>
          <p:cNvSpPr txBox="1">
            <a:spLocks/>
          </p:cNvSpPr>
          <p:nvPr/>
        </p:nvSpPr>
        <p:spPr>
          <a:xfrm>
            <a:off x="723898" y="1792779"/>
            <a:ext cx="10515600" cy="4268155"/>
          </a:xfrm>
          <a:prstGeom prst="rect">
            <a:avLst/>
          </a:prstGeom>
        </p:spPr>
        <p:txBody>
          <a:bodyPr>
            <a:normAutofit lnSpcReduction="1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nl-NL" sz="2000" b="1" dirty="0">
                <a:effectLst/>
                <a:latin typeface="Fieldwork 03 Geo Light"/>
                <a:ea typeface="Calibri" panose="020F0502020204030204" pitchFamily="34" charset="0"/>
                <a:cs typeface="Times New Roman" panose="02020603050405020304" pitchFamily="18" charset="0"/>
              </a:rPr>
              <a:t>The Asset Dynamics A-</a:t>
            </a:r>
            <a:r>
              <a:rPr lang="nl-NL" sz="2000" b="1" dirty="0" err="1">
                <a:effectLst/>
                <a:latin typeface="Fieldwork 03 Geo Light"/>
                <a:ea typeface="Calibri" panose="020F0502020204030204" pitchFamily="34" charset="0"/>
                <a:cs typeface="Times New Roman" panose="02020603050405020304" pitchFamily="18" charset="0"/>
              </a:rPr>
              <a:t>phase</a:t>
            </a:r>
            <a:r>
              <a:rPr lang="nl-NL" sz="2000" b="1" dirty="0">
                <a:effectLst/>
                <a:latin typeface="Fieldwork 03 Geo Light"/>
                <a:ea typeface="Calibri" panose="020F0502020204030204" pitchFamily="34" charset="0"/>
                <a:cs typeface="Times New Roman" panose="02020603050405020304" pitchFamily="18" charset="0"/>
              </a:rPr>
              <a:t> (ADA) </a:t>
            </a:r>
            <a:r>
              <a:rPr lang="nl-NL" sz="2000" b="1" dirty="0">
                <a:latin typeface="Fieldwork 03 Geo Light"/>
                <a:ea typeface="Calibri" panose="020F0502020204030204" pitchFamily="34" charset="0"/>
                <a:cs typeface="Times New Roman" panose="02020603050405020304" pitchFamily="18" charset="0"/>
              </a:rPr>
              <a:t>model evaluates </a:t>
            </a:r>
            <a:r>
              <a:rPr lang="nl-NL" sz="2000" b="1" dirty="0">
                <a:effectLst/>
                <a:latin typeface="Fieldwork 03 Geo Light"/>
                <a:ea typeface="Calibri" panose="020F0502020204030204" pitchFamily="34" charset="0"/>
                <a:cs typeface="Times New Roman" panose="02020603050405020304" pitchFamily="18" charset="0"/>
              </a:rPr>
              <a:t>ship design concepts on</a:t>
            </a:r>
          </a:p>
          <a:p>
            <a:pPr marL="0" indent="0">
              <a:buNone/>
            </a:pPr>
            <a:endParaRPr lang="nl-NL" sz="2000" b="1" dirty="0">
              <a:effectLst/>
              <a:latin typeface="Fieldwork 03 Geo Light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lvl="1"/>
            <a:r>
              <a:rPr lang="nl-NL" sz="2000" b="1" dirty="0">
                <a:latin typeface="Fieldwork 03 Geo Light"/>
              </a:rPr>
              <a:t>availability (= total availability </a:t>
            </a:r>
            <a:r>
              <a:rPr lang="nl-NL" sz="2000" b="1" i="1" dirty="0">
                <a:latin typeface="Fieldwork 03 Geo Light"/>
              </a:rPr>
              <a:t>%</a:t>
            </a:r>
            <a:r>
              <a:rPr lang="nl-NL" sz="2000" b="1" dirty="0">
                <a:latin typeface="Fieldwork 03 Geo Light"/>
              </a:rPr>
              <a:t> and operational downtime </a:t>
            </a:r>
            <a:r>
              <a:rPr lang="nl-NL" sz="2000" b="1" i="1" dirty="0">
                <a:latin typeface="Fieldwork 03 Geo Light"/>
              </a:rPr>
              <a:t>h</a:t>
            </a:r>
            <a:r>
              <a:rPr lang="nl-NL" sz="2000" b="1" dirty="0">
                <a:latin typeface="Fieldwork 03 Geo Light"/>
              </a:rPr>
              <a:t>)</a:t>
            </a:r>
          </a:p>
          <a:p>
            <a:pPr lvl="1"/>
            <a:r>
              <a:rPr lang="nl-NL" sz="2000" b="1" dirty="0">
                <a:latin typeface="Fieldwork 03 Geo Light"/>
              </a:rPr>
              <a:t>affordability (= exploitation costs </a:t>
            </a:r>
            <a:r>
              <a:rPr lang="nl-NL" sz="2000" b="1" i="1" dirty="0">
                <a:latin typeface="Fieldwork 03 Geo Light"/>
              </a:rPr>
              <a:t>€</a:t>
            </a:r>
            <a:r>
              <a:rPr lang="nl-NL" sz="2000" b="1" dirty="0">
                <a:latin typeface="Fieldwork 03 Geo Light"/>
              </a:rPr>
              <a:t> and maintenance hours </a:t>
            </a:r>
            <a:r>
              <a:rPr lang="nl-NL" sz="2000" b="1" i="1" dirty="0">
                <a:latin typeface="Fieldwork 03 Geo Light"/>
              </a:rPr>
              <a:t>h</a:t>
            </a:r>
            <a:r>
              <a:rPr lang="nl-NL" sz="2000" b="1" dirty="0">
                <a:latin typeface="Fieldwork 03 Geo Light"/>
              </a:rPr>
              <a:t>) </a:t>
            </a:r>
          </a:p>
          <a:p>
            <a:pPr marL="0" indent="0">
              <a:buNone/>
            </a:pPr>
            <a:endParaRPr lang="en-US" sz="1800" b="1" dirty="0">
              <a:effectLst/>
              <a:latin typeface="Fieldwork 03 Geo Light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buNone/>
            </a:pPr>
            <a:r>
              <a:rPr lang="nl-NL" sz="2000" b="1" dirty="0" err="1">
                <a:latin typeface="Fieldwork 03 Geo Light"/>
                <a:ea typeface="Calibri" panose="020F0502020204030204" pitchFamily="34" charset="0"/>
                <a:cs typeface="Times New Roman" panose="02020603050405020304" pitchFamily="18" charset="0"/>
              </a:rPr>
              <a:t>to</a:t>
            </a:r>
            <a:r>
              <a:rPr lang="nl-NL" sz="2000" b="1" dirty="0">
                <a:latin typeface="Fieldwork 03 Geo Light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nl-NL" sz="2000" b="1" dirty="0" err="1">
                <a:latin typeface="Fieldwork 03 Geo Light"/>
                <a:ea typeface="Calibri" panose="020F0502020204030204" pitchFamily="34" charset="0"/>
                <a:cs typeface="Times New Roman" panose="02020603050405020304" pitchFamily="18" charset="0"/>
              </a:rPr>
              <a:t>timely</a:t>
            </a:r>
            <a:r>
              <a:rPr lang="nl-NL" sz="2000" b="1" dirty="0">
                <a:latin typeface="Fieldwork 03 Geo Light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nl-NL" sz="2000" b="1" dirty="0" err="1">
                <a:latin typeface="Fieldwork 03 Geo Light"/>
                <a:ea typeface="Calibri" panose="020F0502020204030204" pitchFamily="34" charset="0"/>
                <a:cs typeface="Times New Roman" panose="02020603050405020304" pitchFamily="18" charset="0"/>
              </a:rPr>
              <a:t>adjust</a:t>
            </a:r>
            <a:r>
              <a:rPr lang="nl-NL" sz="2000" b="1" dirty="0">
                <a:latin typeface="Fieldwork 03 Geo Light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nl-NL" sz="2000" b="1" dirty="0" err="1">
                <a:latin typeface="Fieldwork 03 Geo Light"/>
                <a:ea typeface="Calibri" panose="020F0502020204030204" pitchFamily="34" charset="0"/>
                <a:cs typeface="Times New Roman" panose="02020603050405020304" pitchFamily="18" charset="0"/>
              </a:rPr>
              <a:t>the</a:t>
            </a:r>
            <a:endParaRPr lang="nl-NL" sz="2000" b="1" dirty="0">
              <a:latin typeface="Fieldwork 03 Geo Light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buNone/>
            </a:pPr>
            <a:endParaRPr lang="nl-NL" sz="2000" b="1" dirty="0">
              <a:latin typeface="Fieldwork 03 Geo Light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lvl="1"/>
            <a:r>
              <a:rPr lang="nl-NL" sz="2000" b="1" dirty="0">
                <a:latin typeface="Fieldwork 03 Geo Light"/>
              </a:rPr>
              <a:t>ship design</a:t>
            </a:r>
          </a:p>
          <a:p>
            <a:pPr lvl="1"/>
            <a:r>
              <a:rPr lang="nl-NL" sz="2000" b="1" dirty="0">
                <a:latin typeface="Fieldwork 03 Geo Light"/>
              </a:rPr>
              <a:t>support system</a:t>
            </a:r>
          </a:p>
          <a:p>
            <a:pPr lvl="1"/>
            <a:r>
              <a:rPr lang="nl-NL" sz="2000" b="1" dirty="0" err="1">
                <a:latin typeface="Fieldwork 03 Geo Light"/>
              </a:rPr>
              <a:t>usage</a:t>
            </a:r>
            <a:r>
              <a:rPr lang="nl-NL" sz="2000" b="1" dirty="0">
                <a:latin typeface="Fieldwork 03 Geo Light"/>
              </a:rPr>
              <a:t> plan and </a:t>
            </a:r>
            <a:r>
              <a:rPr lang="nl-NL" sz="2000" b="1" dirty="0" err="1">
                <a:latin typeface="Fieldwork 03 Geo Light"/>
              </a:rPr>
              <a:t>requirements</a:t>
            </a:r>
            <a:endParaRPr lang="nl-NL" sz="2000" b="1" dirty="0">
              <a:latin typeface="Fieldwork 03 Geo Light"/>
            </a:endParaRPr>
          </a:p>
          <a:p>
            <a:pPr marL="457200" lvl="1" indent="0">
              <a:buNone/>
            </a:pPr>
            <a:endParaRPr lang="nl-NL" sz="2000" b="1" dirty="0">
              <a:latin typeface="Fieldwork 03 Geo Light"/>
            </a:endParaRPr>
          </a:p>
          <a:p>
            <a:pPr marL="0" indent="0">
              <a:buNone/>
            </a:pPr>
            <a:r>
              <a:rPr lang="nl-NL" sz="2000" b="1" dirty="0" err="1">
                <a:latin typeface="Fieldwork 03 Geo Light"/>
                <a:ea typeface="Calibri" panose="020F0502020204030204" pitchFamily="34" charset="0"/>
                <a:cs typeface="Times New Roman" panose="02020603050405020304" pitchFamily="18" charset="0"/>
              </a:rPr>
              <a:t>to</a:t>
            </a:r>
            <a:r>
              <a:rPr lang="nl-NL" sz="2000" b="1" dirty="0">
                <a:latin typeface="Fieldwork 03 Geo Light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nl-NL" sz="2000" b="1" dirty="0" err="1">
                <a:latin typeface="Fieldwork 03 Geo Light"/>
                <a:ea typeface="Calibri" panose="020F0502020204030204" pitchFamily="34" charset="0"/>
                <a:cs typeface="Times New Roman" panose="02020603050405020304" pitchFamily="18" charset="0"/>
              </a:rPr>
              <a:t>improve</a:t>
            </a:r>
            <a:r>
              <a:rPr lang="nl-NL" sz="2000" b="1" dirty="0">
                <a:latin typeface="Fieldwork 03 Geo Light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nl-NL" sz="2000" b="1" dirty="0" err="1">
                <a:latin typeface="Fieldwork 03 Geo Light"/>
                <a:ea typeface="Calibri" panose="020F0502020204030204" pitchFamily="34" charset="0"/>
                <a:cs typeface="Times New Roman" panose="02020603050405020304" pitchFamily="18" charset="0"/>
              </a:rPr>
              <a:t>the</a:t>
            </a:r>
            <a:r>
              <a:rPr lang="nl-NL" sz="2000" b="1" dirty="0">
                <a:latin typeface="Fieldwork 03 Geo Light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nl-NL" sz="2000" b="1" dirty="0" err="1">
                <a:latin typeface="Fieldwork 03 Geo Light"/>
                <a:ea typeface="Calibri" panose="020F0502020204030204" pitchFamily="34" charset="0"/>
                <a:cs typeface="Times New Roman" panose="02020603050405020304" pitchFamily="18" charset="0"/>
              </a:rPr>
              <a:t>cost-effectiveness</a:t>
            </a:r>
            <a:r>
              <a:rPr lang="nl-NL" sz="2000" b="1" dirty="0">
                <a:latin typeface="Fieldwork 03 Geo Light"/>
                <a:ea typeface="Calibri" panose="020F0502020204030204" pitchFamily="34" charset="0"/>
                <a:cs typeface="Times New Roman" panose="02020603050405020304" pitchFamily="18" charset="0"/>
              </a:rPr>
              <a:t> of military </a:t>
            </a:r>
            <a:r>
              <a:rPr lang="nl-NL" sz="2000" b="1" dirty="0" err="1">
                <a:latin typeface="Fieldwork 03 Geo Light"/>
                <a:ea typeface="Calibri" panose="020F0502020204030204" pitchFamily="34" charset="0"/>
                <a:cs typeface="Times New Roman" panose="02020603050405020304" pitchFamily="18" charset="0"/>
              </a:rPr>
              <a:t>ships</a:t>
            </a:r>
            <a:r>
              <a:rPr lang="nl-NL" sz="2000" b="1" dirty="0">
                <a:latin typeface="Fieldwork 03 Geo Light"/>
                <a:ea typeface="Calibri" panose="020F0502020204030204" pitchFamily="34" charset="0"/>
                <a:cs typeface="Times New Roman" panose="02020603050405020304" pitchFamily="18" charset="0"/>
              </a:rPr>
              <a:t> in </a:t>
            </a:r>
            <a:r>
              <a:rPr lang="nl-NL" sz="2000" b="1" dirty="0" err="1">
                <a:latin typeface="Fieldwork 03 Geo Light"/>
                <a:ea typeface="Calibri" panose="020F0502020204030204" pitchFamily="34" charset="0"/>
                <a:cs typeface="Times New Roman" panose="02020603050405020304" pitchFamily="18" charset="0"/>
              </a:rPr>
              <a:t>the</a:t>
            </a:r>
            <a:r>
              <a:rPr lang="nl-NL" sz="2000" b="1" dirty="0">
                <a:latin typeface="Fieldwork 03 Geo Light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nl-NL" sz="2000" b="1" dirty="0" err="1">
                <a:latin typeface="Fieldwork 03 Geo Light"/>
                <a:ea typeface="Calibri" panose="020F0502020204030204" pitchFamily="34" charset="0"/>
                <a:cs typeface="Times New Roman" panose="02020603050405020304" pitchFamily="18" charset="0"/>
              </a:rPr>
              <a:t>exploitation</a:t>
            </a:r>
            <a:r>
              <a:rPr lang="nl-NL" sz="2000" b="1" dirty="0">
                <a:latin typeface="Fieldwork 03 Geo Light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nl-NL" sz="2000" b="1" dirty="0" err="1">
                <a:latin typeface="Fieldwork 03 Geo Light"/>
                <a:ea typeface="Calibri" panose="020F0502020204030204" pitchFamily="34" charset="0"/>
                <a:cs typeface="Times New Roman" panose="02020603050405020304" pitchFamily="18" charset="0"/>
              </a:rPr>
              <a:t>phase</a:t>
            </a:r>
            <a:endParaRPr lang="nl-NL" sz="2400" b="1" dirty="0">
              <a:latin typeface="Fieldwork 03 Geo Light"/>
            </a:endParaRPr>
          </a:p>
          <a:p>
            <a:pPr lvl="1"/>
            <a:endParaRPr lang="nl-NL" sz="2000" b="1" dirty="0"/>
          </a:p>
          <a:p>
            <a:pPr marL="0" indent="0">
              <a:buNone/>
            </a:pPr>
            <a:endParaRPr lang="nl-NL" sz="2400" b="1" dirty="0"/>
          </a:p>
          <a:p>
            <a:pPr marL="0" indent="0">
              <a:buNone/>
            </a:pPr>
            <a:endParaRPr lang="nl-NL" sz="2400" b="1" dirty="0"/>
          </a:p>
          <a:p>
            <a:pPr marL="0" indent="0">
              <a:buNone/>
            </a:pPr>
            <a:endParaRPr lang="nl-NL" sz="2400" b="1" dirty="0"/>
          </a:p>
          <a:p>
            <a:pPr marL="0" indent="0">
              <a:buNone/>
            </a:pPr>
            <a:endParaRPr lang="nl-NL" sz="2800" dirty="0"/>
          </a:p>
          <a:p>
            <a:pPr>
              <a:lnSpc>
                <a:spcPct val="100000"/>
              </a:lnSpc>
            </a:pPr>
            <a:endParaRPr lang="nl-NL" i="1" dirty="0"/>
          </a:p>
          <a:p>
            <a:pPr>
              <a:lnSpc>
                <a:spcPct val="100000"/>
              </a:lnSpc>
            </a:pPr>
            <a:endParaRPr lang="nl-NL" i="1" dirty="0"/>
          </a:p>
        </p:txBody>
      </p:sp>
    </p:spTree>
    <p:extLst>
      <p:ext uri="{BB962C8B-B14F-4D97-AF65-F5344CB8AC3E}">
        <p14:creationId xmlns:p14="http://schemas.microsoft.com/office/powerpoint/2010/main" val="400308687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4CB9638D-ECED-41AB-BB13-7783F77090B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4CB9638D-ECED-41AB-BB13-7783F77090B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el 3">
            <a:extLst>
              <a:ext uri="{FF2B5EF4-FFF2-40B4-BE49-F238E27FC236}">
                <a16:creationId xmlns:a16="http://schemas.microsoft.com/office/drawing/2014/main" id="{49EF1491-38AF-46FA-B46A-10987DFC7D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nl-NL" dirty="0">
                <a:latin typeface="Fieldwork 06 Geo Bold"/>
              </a:rPr>
              <a:t>Why?</a:t>
            </a:r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56C0CA39-5A82-C711-A2D9-5A1A77747630}"/>
              </a:ext>
            </a:extLst>
          </p:cNvPr>
          <p:cNvSpPr txBox="1">
            <a:spLocks/>
          </p:cNvSpPr>
          <p:nvPr/>
        </p:nvSpPr>
        <p:spPr>
          <a:xfrm>
            <a:off x="723898" y="1792779"/>
            <a:ext cx="10515600" cy="4268155"/>
          </a:xfrm>
          <a:prstGeom prst="rect">
            <a:avLst/>
          </a:prstGeom>
        </p:spPr>
        <p:txBody>
          <a:bodyPr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57200" lvl="1" indent="0">
              <a:buNone/>
            </a:pPr>
            <a:endParaRPr lang="nl-NL" sz="2000" b="1" dirty="0"/>
          </a:p>
          <a:p>
            <a:pPr marL="0" indent="0">
              <a:buNone/>
            </a:pPr>
            <a:endParaRPr lang="nl-NL" sz="2400" b="1" dirty="0"/>
          </a:p>
          <a:p>
            <a:pPr marL="0" indent="0">
              <a:buNone/>
            </a:pPr>
            <a:endParaRPr lang="nl-NL" sz="2400" b="1" dirty="0"/>
          </a:p>
          <a:p>
            <a:pPr marL="0" indent="0">
              <a:buNone/>
            </a:pPr>
            <a:endParaRPr lang="nl-NL" sz="2400" b="1" dirty="0"/>
          </a:p>
          <a:p>
            <a:pPr marL="0" indent="0">
              <a:buNone/>
            </a:pPr>
            <a:endParaRPr lang="nl-NL" sz="2800" dirty="0"/>
          </a:p>
          <a:p>
            <a:pPr>
              <a:lnSpc>
                <a:spcPct val="100000"/>
              </a:lnSpc>
            </a:pPr>
            <a:endParaRPr lang="nl-NL" i="1" dirty="0"/>
          </a:p>
          <a:p>
            <a:pPr>
              <a:lnSpc>
                <a:spcPct val="100000"/>
              </a:lnSpc>
            </a:pPr>
            <a:endParaRPr lang="nl-NL" i="1" dirty="0"/>
          </a:p>
        </p:txBody>
      </p:sp>
      <p:pic>
        <p:nvPicPr>
          <p:cNvPr id="10" name="Picture 9" descr="Fig. 7">
            <a:extLst>
              <a:ext uri="{FF2B5EF4-FFF2-40B4-BE49-F238E27FC236}">
                <a16:creationId xmlns:a16="http://schemas.microsoft.com/office/drawing/2014/main" id="{85B023AE-3C62-11A0-06D8-164BE8C7A8D3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harpenSoften amount="50000"/>
                    </a14:imgEffect>
                    <a14:imgEffect>
                      <a14:saturation sat="33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b="8459"/>
          <a:stretch/>
        </p:blipFill>
        <p:spPr bwMode="auto">
          <a:xfrm>
            <a:off x="1746006" y="1875964"/>
            <a:ext cx="7541246" cy="4409708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Arrow: Down 1">
            <a:extLst>
              <a:ext uri="{FF2B5EF4-FFF2-40B4-BE49-F238E27FC236}">
                <a16:creationId xmlns:a16="http://schemas.microsoft.com/office/drawing/2014/main" id="{C9C3EFC3-EA9D-1533-B449-FA4FA43C5E4F}"/>
              </a:ext>
            </a:extLst>
          </p:cNvPr>
          <p:cNvSpPr/>
          <p:nvPr/>
        </p:nvSpPr>
        <p:spPr>
          <a:xfrm>
            <a:off x="3589432" y="841350"/>
            <a:ext cx="401156" cy="1463040"/>
          </a:xfrm>
          <a:prstGeom prst="down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dirty="0"/>
          </a:p>
        </p:txBody>
      </p:sp>
      <p:sp>
        <p:nvSpPr>
          <p:cNvPr id="3" name="Arrow: Down 2">
            <a:extLst>
              <a:ext uri="{FF2B5EF4-FFF2-40B4-BE49-F238E27FC236}">
                <a16:creationId xmlns:a16="http://schemas.microsoft.com/office/drawing/2014/main" id="{CB7C59DE-11EB-13B4-CFB3-62EFE0D28751}"/>
              </a:ext>
            </a:extLst>
          </p:cNvPr>
          <p:cNvSpPr/>
          <p:nvPr/>
        </p:nvSpPr>
        <p:spPr>
          <a:xfrm>
            <a:off x="7800258" y="797066"/>
            <a:ext cx="401156" cy="1463040"/>
          </a:xfrm>
          <a:prstGeom prst="downArrow">
            <a:avLst/>
          </a:prstGeom>
          <a:solidFill>
            <a:schemeClr val="accent4">
              <a:lumMod val="75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49840162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  <p:bldP spid="3" grpId="0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9815D854-EF6B-48C2-42E5-325F5F381D2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50530" y="1792779"/>
            <a:ext cx="9050920" cy="4880663"/>
          </a:xfrm>
          <a:prstGeom prst="rect">
            <a:avLst/>
          </a:prstGeom>
        </p:spPr>
      </p:pic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4CB9638D-ECED-41AB-BB13-7783F77090B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4CB9638D-ECED-41AB-BB13-7783F77090B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el 3">
            <a:extLst>
              <a:ext uri="{FF2B5EF4-FFF2-40B4-BE49-F238E27FC236}">
                <a16:creationId xmlns:a16="http://schemas.microsoft.com/office/drawing/2014/main" id="{49EF1491-38AF-46FA-B46A-10987DFC7D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nl-NL" dirty="0">
                <a:latin typeface="Fieldwork 06 Geo Bold"/>
              </a:rPr>
              <a:t>How?</a:t>
            </a:r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56C0CA39-5A82-C711-A2D9-5A1A77747630}"/>
              </a:ext>
            </a:extLst>
          </p:cNvPr>
          <p:cNvSpPr txBox="1">
            <a:spLocks/>
          </p:cNvSpPr>
          <p:nvPr/>
        </p:nvSpPr>
        <p:spPr>
          <a:xfrm>
            <a:off x="723898" y="1792779"/>
            <a:ext cx="10515600" cy="4268155"/>
          </a:xfrm>
          <a:prstGeom prst="rect">
            <a:avLst/>
          </a:prstGeom>
        </p:spPr>
        <p:txBody>
          <a:bodyPr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57200" lvl="1" indent="0">
              <a:buNone/>
            </a:pPr>
            <a:endParaRPr lang="nl-NL" sz="2000" b="1" dirty="0"/>
          </a:p>
          <a:p>
            <a:pPr marL="0" indent="0">
              <a:buNone/>
            </a:pPr>
            <a:endParaRPr lang="nl-NL" sz="2400" b="1" dirty="0"/>
          </a:p>
          <a:p>
            <a:pPr marL="0" indent="0">
              <a:buNone/>
            </a:pPr>
            <a:endParaRPr lang="nl-NL" sz="2400" b="1" dirty="0"/>
          </a:p>
          <a:p>
            <a:pPr marL="0" indent="0">
              <a:buNone/>
            </a:pPr>
            <a:endParaRPr lang="nl-NL" sz="2400" b="1" dirty="0"/>
          </a:p>
          <a:p>
            <a:pPr marL="0" indent="0">
              <a:buNone/>
            </a:pPr>
            <a:endParaRPr lang="nl-NL" sz="2800" dirty="0"/>
          </a:p>
          <a:p>
            <a:pPr>
              <a:lnSpc>
                <a:spcPct val="100000"/>
              </a:lnSpc>
            </a:pPr>
            <a:endParaRPr lang="nl-NL" i="1" dirty="0"/>
          </a:p>
          <a:p>
            <a:pPr>
              <a:lnSpc>
                <a:spcPct val="100000"/>
              </a:lnSpc>
            </a:pPr>
            <a:endParaRPr lang="nl-NL" i="1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8DF76C8D-1CA4-4BEE-E01E-E8D65812771E}"/>
              </a:ext>
            </a:extLst>
          </p:cNvPr>
          <p:cNvSpPr/>
          <p:nvPr/>
        </p:nvSpPr>
        <p:spPr>
          <a:xfrm>
            <a:off x="606080" y="1704288"/>
            <a:ext cx="5591519" cy="1510860"/>
          </a:xfrm>
          <a:prstGeom prst="rect">
            <a:avLst/>
          </a:prstGeom>
          <a:noFill/>
          <a:ln w="571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D68FF1AB-0B52-DE86-A1AA-EE8F1D111845}"/>
              </a:ext>
            </a:extLst>
          </p:cNvPr>
          <p:cNvSpPr/>
          <p:nvPr/>
        </p:nvSpPr>
        <p:spPr>
          <a:xfrm>
            <a:off x="7474483" y="1704287"/>
            <a:ext cx="2157026" cy="4159671"/>
          </a:xfrm>
          <a:prstGeom prst="rect">
            <a:avLst/>
          </a:prstGeom>
          <a:noFill/>
          <a:ln w="57150"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2FD7627-2DBB-2F67-0F39-67C880CC5374}"/>
              </a:ext>
            </a:extLst>
          </p:cNvPr>
          <p:cNvSpPr/>
          <p:nvPr/>
        </p:nvSpPr>
        <p:spPr>
          <a:xfrm rot="16200000">
            <a:off x="5233593" y="2708666"/>
            <a:ext cx="1085484" cy="3396302"/>
          </a:xfrm>
          <a:prstGeom prst="rect">
            <a:avLst/>
          </a:prstGeom>
          <a:noFill/>
          <a:ln w="57150"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42C58417-483E-C4B0-8548-E6BA3C833319}"/>
              </a:ext>
            </a:extLst>
          </p:cNvPr>
          <p:cNvSpPr/>
          <p:nvPr/>
        </p:nvSpPr>
        <p:spPr>
          <a:xfrm>
            <a:off x="6096000" y="5038050"/>
            <a:ext cx="1308542" cy="1635392"/>
          </a:xfrm>
          <a:prstGeom prst="rect">
            <a:avLst/>
          </a:prstGeom>
          <a:noFill/>
          <a:ln w="571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27386602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2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5" grpId="1" animBg="1"/>
      <p:bldP spid="5" grpId="2" animBg="1"/>
      <p:bldP spid="11" grpId="0" animBg="1"/>
      <p:bldP spid="11" grpId="1" animBg="1"/>
      <p:bldP spid="12" grpId="0" animBg="1"/>
      <p:bldP spid="12" grpId="1" animBg="1"/>
      <p:bldP spid="2" grpId="0" animBg="1"/>
      <p:bldP spid="2" grpId="1" animBg="1"/>
      <p:bldP spid="2" grpId="2" animBg="1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01B43D7A-1005-8D92-0DBE-76DB07524FCF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723898" y="1534486"/>
            <a:ext cx="6219643" cy="4317471"/>
          </a:xfrm>
        </p:spPr>
        <p:txBody>
          <a:bodyPr/>
          <a:lstStyle/>
          <a:p>
            <a:pPr indent="0">
              <a:buNone/>
            </a:pPr>
            <a:endParaRPr lang="nl-NL" dirty="0"/>
          </a:p>
          <a:p>
            <a:pPr indent="0">
              <a:buNone/>
            </a:pPr>
            <a:endParaRPr lang="nl-NL" dirty="0"/>
          </a:p>
          <a:p>
            <a:pPr indent="0">
              <a:buNone/>
            </a:pPr>
            <a:endParaRPr lang="nl-NL" dirty="0"/>
          </a:p>
          <a:p>
            <a:pPr indent="0">
              <a:buNone/>
            </a:pPr>
            <a:endParaRPr lang="nl-NL" dirty="0"/>
          </a:p>
          <a:p>
            <a:pPr indent="0">
              <a:buNone/>
            </a:pPr>
            <a:endParaRPr lang="nl-NL" dirty="0"/>
          </a:p>
          <a:p>
            <a:pPr indent="0">
              <a:buNone/>
            </a:pPr>
            <a:endParaRPr lang="nl-NL" dirty="0"/>
          </a:p>
          <a:p>
            <a:pPr indent="0">
              <a:buNone/>
            </a:pPr>
            <a:endParaRPr lang="nl-NL" dirty="0"/>
          </a:p>
          <a:p>
            <a:pPr indent="0">
              <a:buNone/>
            </a:pPr>
            <a:endParaRPr lang="nl-NL" dirty="0"/>
          </a:p>
          <a:p>
            <a:pPr indent="0">
              <a:buNone/>
            </a:pPr>
            <a:endParaRPr lang="nl-NL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B608CAA9-2066-5446-BC6B-C6A82A92999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3897" y="713882"/>
            <a:ext cx="9805149" cy="746619"/>
          </a:xfrm>
        </p:spPr>
        <p:txBody>
          <a:bodyPr>
            <a:noAutofit/>
          </a:bodyPr>
          <a:lstStyle/>
          <a:p>
            <a:r>
              <a:rPr lang="nl-NL" dirty="0">
                <a:latin typeface="Fieldwork 06 Geo Bold"/>
              </a:rPr>
              <a:t>Performance requirements &amp; </a:t>
            </a:r>
            <a:r>
              <a:rPr lang="nl-NL" dirty="0" err="1">
                <a:latin typeface="Fieldwork 06 Geo Bold"/>
              </a:rPr>
              <a:t>Ship</a:t>
            </a:r>
            <a:r>
              <a:rPr lang="nl-NL" dirty="0">
                <a:latin typeface="Fieldwork 06 Geo Bold"/>
              </a:rPr>
              <a:t> design concept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5D1510C-57F1-B42C-615D-25319DEB9F21}"/>
              </a:ext>
            </a:extLst>
          </p:cNvPr>
          <p:cNvSpPr txBox="1">
            <a:spLocks/>
          </p:cNvSpPr>
          <p:nvPr/>
        </p:nvSpPr>
        <p:spPr>
          <a:xfrm>
            <a:off x="838200" y="1792780"/>
            <a:ext cx="10515600" cy="4351338"/>
          </a:xfrm>
          <a:prstGeom prst="rect">
            <a:avLst/>
          </a:prstGeom>
        </p:spPr>
        <p:txBody>
          <a:bodyPr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1450" indent="-171450"/>
            <a:r>
              <a:rPr lang="nl-NL" dirty="0"/>
              <a:t> </a:t>
            </a:r>
            <a:r>
              <a:rPr lang="nl-NL" dirty="0">
                <a:latin typeface="Fieldwork 03 Geo Light"/>
              </a:rPr>
              <a:t>A set of performance requirements for different </a:t>
            </a:r>
            <a:r>
              <a:rPr lang="nl-NL" dirty="0" err="1">
                <a:latin typeface="Fieldwork 03 Geo Light"/>
              </a:rPr>
              <a:t>usage</a:t>
            </a:r>
            <a:r>
              <a:rPr lang="nl-NL" dirty="0">
                <a:latin typeface="Fieldwork 03 Geo Light"/>
              </a:rPr>
              <a:t> modes, e.g.,</a:t>
            </a:r>
          </a:p>
          <a:p>
            <a:pPr marL="628650" lvl="1" indent="-171450"/>
            <a:r>
              <a:rPr lang="nl-NL" dirty="0">
                <a:latin typeface="Fieldwork 03 Geo Light"/>
              </a:rPr>
              <a:t>Transit: 19 kn propulsion, 2 MW other systems</a:t>
            </a:r>
          </a:p>
          <a:p>
            <a:pPr marL="628650" lvl="1" indent="-171450"/>
            <a:r>
              <a:rPr lang="nl-NL" dirty="0">
                <a:latin typeface="Fieldwork 03 Geo Light"/>
              </a:rPr>
              <a:t>Combat: 28 kn propulsion, 4 MW other systems</a:t>
            </a:r>
          </a:p>
          <a:p>
            <a:pPr marL="171450" indent="-171450"/>
            <a:endParaRPr lang="nl-NL" dirty="0">
              <a:latin typeface="Fieldwork 03 Geo Light"/>
            </a:endParaRPr>
          </a:p>
          <a:p>
            <a:pPr marL="171450" indent="-171450"/>
            <a:r>
              <a:rPr lang="nl-NL" dirty="0">
                <a:latin typeface="Fieldwork 03 Geo Light"/>
              </a:rPr>
              <a:t> Ship design concept </a:t>
            </a:r>
            <a:r>
              <a:rPr lang="nl-NL" dirty="0" err="1">
                <a:latin typeface="Fieldwork 03 Geo Light"/>
              </a:rPr>
              <a:t>diagrams</a:t>
            </a:r>
            <a:endParaRPr lang="nl-NL" dirty="0">
              <a:latin typeface="Fieldwork 03 Geo Light"/>
            </a:endParaRPr>
          </a:p>
          <a:p>
            <a:pPr marL="628650" lvl="1" indent="-171450"/>
            <a:r>
              <a:rPr lang="nl-NL" dirty="0">
                <a:latin typeface="Fieldwork 03 Geo Light"/>
              </a:rPr>
              <a:t>Single line diagram</a:t>
            </a:r>
          </a:p>
          <a:p>
            <a:pPr marL="628650" lvl="1" indent="-171450"/>
            <a:r>
              <a:rPr lang="nl-NL" dirty="0">
                <a:latin typeface="Fieldwork 03 Geo Light"/>
              </a:rPr>
              <a:t>Reliability Block </a:t>
            </a:r>
            <a:r>
              <a:rPr lang="nl-NL" dirty="0" err="1">
                <a:latin typeface="Fieldwork 03 Geo Light"/>
              </a:rPr>
              <a:t>Diagrams</a:t>
            </a:r>
            <a:endParaRPr lang="nl-NL" dirty="0">
              <a:latin typeface="Fieldwork 03 Geo Light"/>
            </a:endParaRPr>
          </a:p>
          <a:p>
            <a:pPr marL="171450" indent="-171450"/>
            <a:endParaRPr lang="nl-NL" dirty="0"/>
          </a:p>
          <a:p>
            <a:pPr marL="171450" indent="-171450"/>
            <a:endParaRPr lang="nl-NL" dirty="0"/>
          </a:p>
          <a:p>
            <a:pPr marL="0" indent="0">
              <a:buNone/>
            </a:pPr>
            <a:endParaRPr lang="nl-NL" dirty="0"/>
          </a:p>
          <a:p>
            <a:pPr marL="171450" indent="-171450"/>
            <a:endParaRPr lang="nl-NL" dirty="0"/>
          </a:p>
          <a:p>
            <a:pPr marL="171450" indent="-171450"/>
            <a:endParaRPr lang="nl-NL" dirty="0"/>
          </a:p>
          <a:p>
            <a:pPr marL="171450" indent="-171450"/>
            <a:endParaRPr lang="nl-NL" dirty="0"/>
          </a:p>
          <a:p>
            <a:pPr marL="171450" indent="-171450"/>
            <a:endParaRPr lang="nl-NL" dirty="0"/>
          </a:p>
          <a:p>
            <a:pPr marL="171450" indent="-171450"/>
            <a:endParaRPr lang="nl-NL" b="0" dirty="0"/>
          </a:p>
          <a:p>
            <a:pPr marL="171450" indent="-171450"/>
            <a:endParaRPr lang="nl-NL" dirty="0"/>
          </a:p>
          <a:p>
            <a:pPr marL="171450" indent="-171450"/>
            <a:endParaRPr lang="nl-NL" sz="2800" dirty="0"/>
          </a:p>
          <a:p>
            <a:pPr marL="628650" lvl="1" indent="-171450"/>
            <a:endParaRPr lang="nl-NL" dirty="0"/>
          </a:p>
          <a:p>
            <a:pPr>
              <a:lnSpc>
                <a:spcPct val="100000"/>
              </a:lnSpc>
            </a:pPr>
            <a:endParaRPr lang="nl-NL" i="1" dirty="0"/>
          </a:p>
          <a:p>
            <a:pPr>
              <a:lnSpc>
                <a:spcPct val="100000"/>
              </a:lnSpc>
            </a:pPr>
            <a:endParaRPr lang="nl-NL" i="1" dirty="0"/>
          </a:p>
        </p:txBody>
      </p:sp>
      <p:pic>
        <p:nvPicPr>
          <p:cNvPr id="7" name="Picture 6" descr="A picture containing screenshot, text, font, line&#10;&#10;Description automatically generated">
            <a:extLst>
              <a:ext uri="{FF2B5EF4-FFF2-40B4-BE49-F238E27FC236}">
                <a16:creationId xmlns:a16="http://schemas.microsoft.com/office/drawing/2014/main" id="{307147C8-E30A-A298-A005-F5A8A8FEAAF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88050" y="3944890"/>
            <a:ext cx="5209478" cy="17545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8374583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532c7276-519e-4dfd-877f-a0b6e71f99d4">
      <Terms xmlns="http://schemas.microsoft.com/office/infopath/2007/PartnerControls"/>
    </lcf76f155ced4ddcb4097134ff3c332f>
    <TaxCatchAll xmlns="4583d217-e6e7-4bd8-b25a-c1564e3c1da3" xsi:nil="true"/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FCFD830101578E48AB83FC3C63FF1C79" ma:contentTypeVersion="19" ma:contentTypeDescription="Create a new document." ma:contentTypeScope="" ma:versionID="334a0b33cdb16be051394098a22f45c1">
  <xsd:schema xmlns:xsd="http://www.w3.org/2001/XMLSchema" xmlns:xs="http://www.w3.org/2001/XMLSchema" xmlns:p="http://schemas.microsoft.com/office/2006/metadata/properties" xmlns:ns2="532c7276-519e-4dfd-877f-a0b6e71f99d4" xmlns:ns3="4583d217-e6e7-4bd8-b25a-c1564e3c1da3" targetNamespace="http://schemas.microsoft.com/office/2006/metadata/properties" ma:root="true" ma:fieldsID="e29b1cdacb195f903eea44524ea65cef" ns2:_="" ns3:_="">
    <xsd:import namespace="532c7276-519e-4dfd-877f-a0b6e71f99d4"/>
    <xsd:import namespace="4583d217-e6e7-4bd8-b25a-c1564e3c1da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AutoTags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MediaServiceOCR" minOccurs="0"/>
                <xsd:element ref="ns2:MediaServiceAutoKeyPoints" minOccurs="0"/>
                <xsd:element ref="ns2:MediaServiceKeyPoints" minOccurs="0"/>
                <xsd:element ref="ns2:MediaServiceLocation" minOccurs="0"/>
                <xsd:element ref="ns2:MediaLengthInSeconds" minOccurs="0"/>
                <xsd:element ref="ns3:TaxCatchAll" minOccurs="0"/>
                <xsd:element ref="ns2:lcf76f155ced4ddcb4097134ff3c332f" minOccurs="0"/>
                <xsd:element ref="ns2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32c7276-519e-4dfd-877f-a0b6e71f99d4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Tags" ma:internalName="MediaServiceAutoTags" ma:readOnly="true">
      <xsd:simpleType>
        <xsd:restriction base="dms:Text"/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AutoKeyPoints" ma:index="17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8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Location" ma:index="19" nillable="true" ma:displayName="Location" ma:internalName="MediaServiceLocation" ma:readOnly="true">
      <xsd:simpleType>
        <xsd:restriction base="dms:Text"/>
      </xsd:simpleType>
    </xsd:element>
    <xsd:element name="MediaLengthInSeconds" ma:index="20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23" nillable="true" ma:taxonomy="true" ma:internalName="lcf76f155ced4ddcb4097134ff3c332f" ma:taxonomyFieldName="MediaServiceImageTags" ma:displayName="Image Tags" ma:readOnly="false" ma:fieldId="{5cf76f15-5ced-4ddc-b409-7134ff3c332f}" ma:taxonomyMulti="true" ma:sspId="5a6db2ca-7152-4b93-a332-f277b680db39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4" nillable="true" ma:displayName="MediaServiceObjectDetectorVersions" ma:description="" ma:hidden="true" ma:indexed="true" ma:internalName="MediaServiceObjectDetectorVersions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583d217-e6e7-4bd8-b25a-c1564e3c1da3" elementFormDefault="qualified">
    <xsd:import namespace="http://schemas.microsoft.com/office/2006/documentManagement/types"/>
    <xsd:import namespace="http://schemas.microsoft.com/office/infopath/2007/PartnerControls"/>
    <xsd:element name="SharedWithUsers" ma:index="14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5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1" nillable="true" ma:displayName="Taxonomy Catch All Column" ma:hidden="true" ma:list="{74da2942-1f22-429b-ab72-b8decbdd8506}" ma:internalName="TaxCatchAll" ma:showField="CatchAllData" ma:web="4583d217-e6e7-4bd8-b25a-c1564e3c1da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940DE11A-F53D-4C7A-8004-406AE59DCC3C}">
  <ds:schemaRefs>
    <ds:schemaRef ds:uri="http://www.w3.org/XML/1998/namespace"/>
    <ds:schemaRef ds:uri="http://schemas.microsoft.com/office/2006/documentManagement/types"/>
    <ds:schemaRef ds:uri="141a966e-56b4-4d2f-ae67-da0ed1ea5ae9"/>
    <ds:schemaRef ds:uri="http://purl.org/dc/elements/1.1/"/>
    <ds:schemaRef ds:uri="http://purl.org/dc/dcmitype/"/>
    <ds:schemaRef ds:uri="http://schemas.microsoft.com/office/infopath/2007/PartnerControls"/>
    <ds:schemaRef ds:uri="http://schemas.openxmlformats.org/package/2006/metadata/core-properties"/>
    <ds:schemaRef ds:uri="http://schemas.microsoft.com/office/2006/metadata/properties"/>
    <ds:schemaRef ds:uri="http://purl.org/dc/terms/"/>
  </ds:schemaRefs>
</ds:datastoreItem>
</file>

<file path=customXml/itemProps2.xml><?xml version="1.0" encoding="utf-8"?>
<ds:datastoreItem xmlns:ds="http://schemas.openxmlformats.org/officeDocument/2006/customXml" ds:itemID="{CE1CDDA3-A6B9-4DD6-B85F-E40046E230A9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89BA821D-065A-49E3-A039-331817897103}"/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354</Words>
  <Application>Microsoft Office PowerPoint</Application>
  <PresentationFormat>Widescreen</PresentationFormat>
  <Paragraphs>176</Paragraphs>
  <Slides>20</Slides>
  <Notes>16</Notes>
  <HiddenSlides>0</HiddenSlides>
  <MMClips>0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0</vt:i4>
      </vt:variant>
    </vt:vector>
  </HeadingPairs>
  <TitlesOfParts>
    <vt:vector size="31" baseType="lpstr">
      <vt:lpstr>Arial</vt:lpstr>
      <vt:lpstr>Calibri</vt:lpstr>
      <vt:lpstr>Calibri Light</vt:lpstr>
      <vt:lpstr>Fieldwork 02 Geo Thin</vt:lpstr>
      <vt:lpstr>Fieldwork 02 Hum Thin</vt:lpstr>
      <vt:lpstr>Fieldwork 03 Geo Light</vt:lpstr>
      <vt:lpstr>Fieldwork 06 Geo Bold</vt:lpstr>
      <vt:lpstr>Fieldwork Geo Regular</vt:lpstr>
      <vt:lpstr>Wingdings</vt:lpstr>
      <vt:lpstr>Office Theme</vt:lpstr>
      <vt:lpstr>think-cell Slide</vt:lpstr>
      <vt:lpstr>ADA model</vt:lpstr>
      <vt:lpstr>the Copernicos approach</vt:lpstr>
      <vt:lpstr>Physical assets (examples)</vt:lpstr>
      <vt:lpstr>Asset dynamics</vt:lpstr>
      <vt:lpstr>ADA model</vt:lpstr>
      <vt:lpstr>What?</vt:lpstr>
      <vt:lpstr>Why?</vt:lpstr>
      <vt:lpstr>How?</vt:lpstr>
      <vt:lpstr>Performance requirements &amp; Ship design concepts</vt:lpstr>
      <vt:lpstr>Support system &amp; Usage plan</vt:lpstr>
      <vt:lpstr>Process diagram</vt:lpstr>
      <vt:lpstr>Parameters</vt:lpstr>
      <vt:lpstr>Process diagram</vt:lpstr>
      <vt:lpstr>ADA model</vt:lpstr>
      <vt:lpstr>Process diagram</vt:lpstr>
      <vt:lpstr>Robust Decision-Making (Lempert et al., 2006)</vt:lpstr>
      <vt:lpstr>Computational experimentation</vt:lpstr>
      <vt:lpstr>Worst-case scenario discovery</vt:lpstr>
      <vt:lpstr>Process diagram</vt:lpstr>
      <vt:lpstr>For a succesful cooper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erugkoppeling 31/8 &amp; verdere stappen</dc:title>
  <dc:creator>Stefan Salome</dc:creator>
  <cp:lastModifiedBy>Stefan Salome</cp:lastModifiedBy>
  <cp:revision>2</cp:revision>
  <dcterms:created xsi:type="dcterms:W3CDTF">2022-09-08T07:36:27Z</dcterms:created>
  <dcterms:modified xsi:type="dcterms:W3CDTF">2023-07-07T12:19:2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3079A17F29DABD428DA91096353B583D</vt:lpwstr>
  </property>
  <property fmtid="{D5CDD505-2E9C-101B-9397-08002B2CF9AE}" pid="3" name="MediaServiceImageTags">
    <vt:lpwstr/>
  </property>
</Properties>
</file>